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0"/>
  </p:notesMasterIdLst>
  <p:sldIdLst>
    <p:sldId id="256" r:id="rId3"/>
    <p:sldId id="260" r:id="rId4"/>
    <p:sldId id="327" r:id="rId5"/>
    <p:sldId id="326" r:id="rId6"/>
    <p:sldId id="323" r:id="rId7"/>
    <p:sldId id="290" r:id="rId8"/>
    <p:sldId id="324" r:id="rId9"/>
    <p:sldId id="291" r:id="rId10"/>
    <p:sldId id="299" r:id="rId11"/>
    <p:sldId id="310" r:id="rId12"/>
    <p:sldId id="311" r:id="rId13"/>
    <p:sldId id="312" r:id="rId14"/>
    <p:sldId id="313" r:id="rId15"/>
    <p:sldId id="315" r:id="rId16"/>
    <p:sldId id="294" r:id="rId17"/>
    <p:sldId id="297" r:id="rId18"/>
    <p:sldId id="295" r:id="rId19"/>
    <p:sldId id="316" r:id="rId20"/>
    <p:sldId id="281" r:id="rId21"/>
    <p:sldId id="329" r:id="rId22"/>
    <p:sldId id="286" r:id="rId23"/>
    <p:sldId id="282" r:id="rId24"/>
    <p:sldId id="317" r:id="rId25"/>
    <p:sldId id="279" r:id="rId26"/>
    <p:sldId id="300" r:id="rId27"/>
    <p:sldId id="330" r:id="rId28"/>
    <p:sldId id="318" r:id="rId29"/>
    <p:sldId id="328" r:id="rId30"/>
    <p:sldId id="331" r:id="rId31"/>
    <p:sldId id="332" r:id="rId32"/>
    <p:sldId id="333" r:id="rId33"/>
    <p:sldId id="319" r:id="rId34"/>
    <p:sldId id="320" r:id="rId35"/>
    <p:sldId id="321" r:id="rId36"/>
    <p:sldId id="322" r:id="rId37"/>
    <p:sldId id="265" r:id="rId38"/>
    <p:sldId id="266" r:id="rId39"/>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76" autoAdjust="0"/>
  </p:normalViewPr>
  <p:slideViewPr>
    <p:cSldViewPr snapToGrid="0" showGuides="1">
      <p:cViewPr varScale="1">
        <p:scale>
          <a:sx n="96" d="100"/>
          <a:sy n="96" d="100"/>
        </p:scale>
        <p:origin x="36" y="114"/>
      </p:cViewPr>
      <p:guideLst>
        <p:guide orient="horz" pos="2160"/>
        <p:guide pos="3840"/>
      </p:guideLst>
    </p:cSldViewPr>
  </p:slideViewPr>
  <p:notesTextViewPr>
    <p:cViewPr>
      <p:scale>
        <a:sx n="1" d="1"/>
        <a:sy n="1" d="1"/>
      </p:scale>
      <p:origin x="0" y="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6</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7</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dirty="0"/>
            <a:t>Monitoring applications with App Insights</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dgm:spPr/>
      <dgm:t>
        <a:bodyPr/>
        <a:lstStyle/>
        <a:p>
          <a:r>
            <a:rPr lang="en-US"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dgm:spPr/>
      <dgm:t>
        <a:bodyPr/>
        <a:lstStyle/>
        <a:p>
          <a:r>
            <a:rPr lang="en-US" dirty="0"/>
            <a:t>Lap around other Azure dev focused features</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7">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7">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7">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7">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7">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7">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7">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7">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7">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7">
        <dgm:presLayoutVars>
          <dgm:bulletEnabled val="1"/>
        </dgm:presLayoutVars>
      </dgm:prSet>
      <dgm:spPr/>
    </dgm:pt>
    <dgm:pt modelId="{2B1D75C4-CB07-4847-87C0-9CBA68424C25}" type="pres">
      <dgm:prSet presAssocID="{93DB633C-C6BF-440C-B5B6-859547B1A5F4}"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5" presStyleCnt="7">
        <dgm:presLayoutVars>
          <dgm:chMax val="1"/>
          <dgm:bulletEnabled val="1"/>
        </dgm:presLayoutVars>
      </dgm:prSet>
      <dgm:spPr/>
    </dgm:pt>
    <dgm:pt modelId="{68B4BBEF-B3B9-44EE-93CE-818230DA2604}" type="pres">
      <dgm:prSet presAssocID="{98FA1FEA-193C-455F-BC82-D031D6A78B83}" presName="descendantText" presStyleLbl="alignAccFollowNode1" presStyleIdx="5" presStyleCnt="7">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6" presStyleCnt="7">
        <dgm:presLayoutVars>
          <dgm:chMax val="1"/>
          <dgm:bulletEnabled val="1"/>
        </dgm:presLayoutVars>
      </dgm:prSet>
      <dgm:spPr/>
    </dgm:pt>
    <dgm:pt modelId="{12B67329-6C74-4CE3-AA42-7F4F34AD07BC}" type="pres">
      <dgm:prSet presAssocID="{8D7BE13D-B3E4-4BD9-AB55-E0D515F17735}" presName="descendantText" presStyleLbl="alignAccFollowNode1" presStyleIdx="6" presStyleCnt="7">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D9BFC1CC-451D-4B22-B368-8628332ED83A}" type="presOf" srcId="{8D7BE13D-B3E4-4BD9-AB55-E0D515F17735}" destId="{F1C64B8A-0378-48EC-9D61-9DDE57011B84}" srcOrd="0" destOrd="0" presId="urn:microsoft.com/office/officeart/2005/8/layout/vList5"/>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D4770973-B01B-494F-AD2A-578530D39BE7}" srcId="{CCB75381-B66D-4B20-8298-A5FD070AB22C}" destId="{8D7BE13D-B3E4-4BD9-AB55-E0D515F17735}" srcOrd="6" destOrd="0" parTransId="{BE9C533E-0224-459A-B552-210E52F00126}" sibTransId="{057E53D7-27D0-49B0-9C7A-4F2343EBB494}"/>
    <dgm:cxn modelId="{B0D734D2-750E-4611-A50D-DBCD03DECAB2}" type="presOf" srcId="{BBECAE11-94CC-457A-B533-AE47FE7D4D57}" destId="{12B67329-6C74-4CE3-AA42-7F4F34AD07BC}" srcOrd="0" destOrd="0" presId="urn:microsoft.com/office/officeart/2005/8/layout/vList5"/>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7E5E93F6-652A-418E-9BE5-80E4DCF73807}" srcId="{CCB75381-B66D-4B20-8298-A5FD070AB22C}" destId="{98FA1FEA-193C-455F-BC82-D031D6A78B83}" srcOrd="5" destOrd="0" parTransId="{4D02B69D-4BFB-406D-BABC-58A651D2BD31}" sibTransId="{64AD9273-27D6-42CA-9606-2E8D96638389}"/>
    <dgm:cxn modelId="{326DC576-8391-4952-A8CA-B51E65A4C424}" type="presOf" srcId="{8072FA85-1F1D-4E2E-9ED3-9E9729269312}" destId="{7F905116-DF52-47DE-BE38-A75756ACB8D6}" srcOrd="0" destOrd="0" presId="urn:microsoft.com/office/officeart/2005/8/layout/vList5"/>
    <dgm:cxn modelId="{DBF2A754-1B60-4773-9734-8BFF7C19C792}" type="presOf" srcId="{98FA1FEA-193C-455F-BC82-D031D6A78B83}" destId="{291529A3-D216-4DC4-835B-3321FFD0318C}"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E6F23BCA-E35D-4F8C-AB87-B20D52723DD6}" srcId="{8D7BE13D-B3E4-4BD9-AB55-E0D515F17735}" destId="{BBECAE11-94CC-457A-B533-AE47FE7D4D57}" srcOrd="0" destOrd="0" parTransId="{16F3CA83-29FF-416F-8036-01CC8DA22FBD}" sibTransId="{0E6FA1AD-1A2F-4EA0-9760-79575D953AD7}"/>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0B79F412-147E-45C5-ABCB-2FEEA51FC9A8}" type="presParOf" srcId="{E03513B6-B757-4D79-B241-089506EEB20F}" destId="{1991AD84-BDBE-42D1-8C2A-D4CCF78EEA24}" srcOrd="10"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1" destOrd="0" presId="urn:microsoft.com/office/officeart/2005/8/layout/vList5"/>
    <dgm:cxn modelId="{165536AE-617F-4D27-BCEC-5A6F7CECF7A6}" type="presParOf" srcId="{E03513B6-B757-4D79-B241-089506EEB20F}" destId="{37E90A6C-0546-43A9-A7DD-B8FBA4253431}" srcOrd="12"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b="0" i="0" u="none" dirty="0"/>
            <a:t>Infrastructure as code with </a:t>
          </a:r>
          <a:r>
            <a:rPr lang="en-US"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dgm:spPr/>
      <dgm:t>
        <a:bodyPr/>
        <a:lstStyle/>
        <a:p>
          <a:r>
            <a:rPr lang="en-US"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dgm:spPr/>
      <dgm:t>
        <a:bodyPr/>
        <a:lstStyle/>
        <a:p>
          <a:r>
            <a:rPr lang="en-US"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dgm:spPr/>
      <dgm:t>
        <a:bodyPr/>
        <a:lstStyle/>
        <a:p>
          <a:r>
            <a:rPr lang="en-US" dirty="0"/>
            <a:t>Tools and developer environment overview </a:t>
          </a:r>
          <a:r>
            <a:rPr lang="en-US" b="0" i="0" u="none" dirty="0"/>
            <a:t>Lecture + Demo</a:t>
          </a:r>
          <a:endParaRPr lang="en-US"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dgm:spPr/>
      <dgm:t>
        <a:bodyPr/>
        <a:lstStyle/>
        <a:p>
          <a:r>
            <a:rPr lang="en-US"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dgm:spPr/>
      <dgm:t>
        <a:bodyPr/>
        <a:lstStyle/>
        <a:p>
          <a:r>
            <a:rPr lang="en-US"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dgm:spPr/>
      <dgm:t>
        <a:bodyPr/>
        <a:lstStyle/>
        <a:p>
          <a:r>
            <a:rPr lang="en-US"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dgm:spPr/>
      <dgm:t>
        <a:bodyPr/>
        <a:lstStyle/>
        <a:p>
          <a:r>
            <a:rPr lang="en-US" dirty="0"/>
            <a:t>Modern Cloud Apps </a:t>
          </a:r>
          <a:r>
            <a:rPr lang="en-US" b="0" i="0" u="none" dirty="0"/>
            <a:t>Lecture + Demo</a:t>
          </a:r>
          <a:endParaRPr lang="en-US"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dgm:spPr/>
      <dgm:t>
        <a:bodyPr/>
        <a:lstStyle/>
        <a:p>
          <a:r>
            <a:rPr lang="en-US"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dgm:spPr/>
      <dgm:t>
        <a:bodyPr/>
        <a:lstStyle/>
        <a:p>
          <a:r>
            <a:rPr lang="en-US"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dgm:spPr/>
      <dgm:t>
        <a:bodyPr/>
        <a:lstStyle/>
        <a:p>
          <a:r>
            <a:rPr lang="en-US" dirty="0"/>
            <a:t>Identity and Office365 APIs Overview </a:t>
          </a:r>
          <a:r>
            <a:rPr lang="en-US" b="0" i="0" u="none" dirty="0"/>
            <a:t>Lecture + Demo</a:t>
          </a:r>
          <a:endParaRPr lang="en-US"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dgm:spPr/>
      <dgm:t>
        <a:bodyPr/>
        <a:lstStyle/>
        <a:p>
          <a:r>
            <a:rPr lang="en-US"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dgm:spPr/>
      <dgm:t>
        <a:bodyPr/>
        <a:lstStyle/>
        <a:p>
          <a:r>
            <a:rPr lang="en-US"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dgm:spPr/>
      <dgm:t>
        <a:bodyPr/>
        <a:lstStyle/>
        <a:p>
          <a:r>
            <a:rPr lang="en-US"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dgm:spPr/>
      <dgm:t>
        <a:bodyPr/>
        <a:lstStyle/>
        <a:p>
          <a:r>
            <a:rPr lang="en-US" b="0" i="0" u="none" dirty="0"/>
            <a:t>Recap</a:t>
          </a:r>
          <a:endParaRPr lang="en-US"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dgm:spPr/>
      <dgm:t>
        <a:bodyPr/>
        <a:lstStyle/>
        <a:p>
          <a:r>
            <a:rPr lang="pt-BR" b="0" i="0" u="none" dirty="0"/>
            <a:t>Q&amp;A</a:t>
          </a:r>
          <a:endParaRPr lang="pt-BR"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dgm:spPr/>
      <dgm:t>
        <a:bodyPr/>
        <a:lstStyle/>
        <a:p>
          <a:r>
            <a:rPr lang="en-US" dirty="0"/>
            <a:t>Lap around other Azure dev focused features</a:t>
          </a:r>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dgm:spPr/>
      <dgm:t>
        <a:bodyPr/>
        <a:lstStyle/>
        <a:p>
          <a:r>
            <a:rPr lang="fr-FR" b="0" i="0" u="none" dirty="0"/>
            <a:t>Containers (Docker, ACS) </a:t>
          </a:r>
          <a:r>
            <a:rPr lang="en-US" b="0" i="0" u="none" dirty="0"/>
            <a:t>Lecture + Demo</a:t>
          </a:r>
          <a:endParaRPr lang="fr-FR"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dgm:spPr/>
      <dgm:t>
        <a:bodyPr/>
        <a:lstStyle/>
        <a:p>
          <a:r>
            <a:rPr lang="en-US" b="0" i="0" u="none" dirty="0"/>
            <a:t>HOL 6 - </a:t>
          </a:r>
          <a:r>
            <a:rPr lang="en-US"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dgm:spPr/>
      <dgm:t>
        <a:bodyPr/>
        <a:lstStyle/>
        <a:p>
          <a:r>
            <a:rPr lang="en-US" b="0" i="0" u="none" dirty="0"/>
            <a:t>Monitoring  Lecture + Demo</a:t>
          </a:r>
          <a:endParaRPr lang="en-US"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dgm:spPr/>
      <dgm:t>
        <a:bodyPr/>
        <a:lstStyle/>
        <a:p>
          <a:r>
            <a:rPr lang="en-US" b="0" i="0" u="none" dirty="0"/>
            <a:t>Break</a:t>
          </a:r>
          <a:endParaRPr lang="en-US"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dgm:spPr/>
      <dgm:t>
        <a:bodyPr/>
        <a:lstStyle/>
        <a:p>
          <a:r>
            <a:rPr lang="en-US" b="0" i="0" u="none" dirty="0"/>
            <a:t>HOL 5 - Infrastructure as code (ARM)</a:t>
          </a:r>
          <a:endParaRPr lang="en-US"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dgm:spPr/>
      <dgm:t>
        <a:bodyPr/>
        <a:lstStyle/>
        <a:p>
          <a:r>
            <a:rPr lang="en-US" b="0" i="0" u="none" dirty="0"/>
            <a:t>Lunch</a:t>
          </a:r>
          <a:endParaRPr lang="en-US"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dgm:spPr/>
      <dgm:t>
        <a:bodyPr/>
        <a:lstStyle/>
        <a:p>
          <a:r>
            <a:rPr lang="en-US" b="0" i="0" u="none" dirty="0"/>
            <a:t>Infrastructure as code (ARM)	Lecture + Demo</a:t>
          </a:r>
          <a:endParaRPr lang="en-US"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dgm:spPr/>
      <dgm:t>
        <a:bodyPr/>
        <a:lstStyle/>
        <a:p>
          <a:r>
            <a:rPr lang="en-US" b="0" i="0" u="none" dirty="0"/>
            <a:t>HOL 4 - Continuous integration</a:t>
          </a:r>
          <a:endParaRPr lang="en-US"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dgm:spPr/>
      <dgm:t>
        <a:bodyPr/>
        <a:lstStyle/>
        <a:p>
          <a:r>
            <a:rPr lang="en-US" b="0" i="0" u="none" dirty="0"/>
            <a:t>Break</a:t>
          </a:r>
          <a:endParaRPr lang="en-US"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dgm:spPr/>
      <dgm:t>
        <a:bodyPr/>
        <a:lstStyle/>
        <a:p>
          <a:r>
            <a:rPr lang="en-US" b="0" i="0" u="none" dirty="0"/>
            <a:t>Continuous integration Lecture + Demo</a:t>
          </a:r>
          <a:endParaRPr lang="en-US"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332962" y="-2773306"/>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Setting up your developer environment</a:t>
          </a:r>
        </a:p>
      </dsp:txBody>
      <dsp:txXfrm rot="-5400000">
        <a:off x="3493008" y="92515"/>
        <a:ext cx="6183925" cy="478148"/>
      </dsp:txXfrm>
    </dsp:sp>
    <dsp:sp modelId="{A5438C1E-89FB-411C-9EAB-7842FD136D3A}">
      <dsp:nvSpPr>
        <dsp:cNvPr id="0" name=""/>
        <dsp:cNvSpPr/>
      </dsp:nvSpPr>
      <dsp:spPr>
        <a:xfrm>
          <a:off x="0" y="413"/>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1</a:t>
          </a:r>
        </a:p>
      </dsp:txBody>
      <dsp:txXfrm>
        <a:off x="32333" y="32746"/>
        <a:ext cx="3428342" cy="597687"/>
      </dsp:txXfrm>
    </dsp:sp>
    <dsp:sp modelId="{E6420154-04FB-467D-88B8-1F7D05114D7E}">
      <dsp:nvSpPr>
        <dsp:cNvPr id="0" name=""/>
        <dsp:cNvSpPr/>
      </dsp:nvSpPr>
      <dsp:spPr>
        <a:xfrm rot="5400000">
          <a:off x="6332962" y="-2077835"/>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Building modern cloud apps</a:t>
          </a:r>
        </a:p>
      </dsp:txBody>
      <dsp:txXfrm rot="-5400000">
        <a:off x="3493008" y="787986"/>
        <a:ext cx="6183925" cy="478148"/>
      </dsp:txXfrm>
    </dsp:sp>
    <dsp:sp modelId="{F8539A12-2D82-4C88-98C3-1B1E242F4079}">
      <dsp:nvSpPr>
        <dsp:cNvPr id="0" name=""/>
        <dsp:cNvSpPr/>
      </dsp:nvSpPr>
      <dsp:spPr>
        <a:xfrm>
          <a:off x="0" y="695884"/>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2</a:t>
          </a:r>
        </a:p>
      </dsp:txBody>
      <dsp:txXfrm>
        <a:off x="32333" y="728217"/>
        <a:ext cx="3428342" cy="597687"/>
      </dsp:txXfrm>
    </dsp:sp>
    <dsp:sp modelId="{61247A71-DC9E-4A76-B169-395D763BB202}">
      <dsp:nvSpPr>
        <dsp:cNvPr id="0" name=""/>
        <dsp:cNvSpPr/>
      </dsp:nvSpPr>
      <dsp:spPr>
        <a:xfrm rot="5400000">
          <a:off x="6332962" y="-1382364"/>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dentity with Azure AD and Office 365 APIs</a:t>
          </a:r>
        </a:p>
      </dsp:txBody>
      <dsp:txXfrm rot="-5400000">
        <a:off x="3493008" y="1483457"/>
        <a:ext cx="6183925" cy="478148"/>
      </dsp:txXfrm>
    </dsp:sp>
    <dsp:sp modelId="{1D40B9DC-3DB8-4751-BFF0-8DBEF83FF13C}">
      <dsp:nvSpPr>
        <dsp:cNvPr id="0" name=""/>
        <dsp:cNvSpPr/>
      </dsp:nvSpPr>
      <dsp:spPr>
        <a:xfrm>
          <a:off x="0" y="1391355"/>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3</a:t>
          </a:r>
        </a:p>
      </dsp:txBody>
      <dsp:txXfrm>
        <a:off x="32333" y="1423688"/>
        <a:ext cx="3428342" cy="597687"/>
      </dsp:txXfrm>
    </dsp:sp>
    <dsp:sp modelId="{735907E8-CD71-421F-8950-285DC6511AD6}">
      <dsp:nvSpPr>
        <dsp:cNvPr id="0" name=""/>
        <dsp:cNvSpPr/>
      </dsp:nvSpPr>
      <dsp:spPr>
        <a:xfrm rot="5400000">
          <a:off x="6332962" y="-686893"/>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evOps with Azure and Visual Studio Team Services</a:t>
          </a:r>
        </a:p>
      </dsp:txBody>
      <dsp:txXfrm rot="-5400000">
        <a:off x="3493008" y="2178928"/>
        <a:ext cx="6183925" cy="478148"/>
      </dsp:txXfrm>
    </dsp:sp>
    <dsp:sp modelId="{03632F8B-4E93-4840-9E4E-68F53BBC5873}">
      <dsp:nvSpPr>
        <dsp:cNvPr id="0" name=""/>
        <dsp:cNvSpPr/>
      </dsp:nvSpPr>
      <dsp:spPr>
        <a:xfrm>
          <a:off x="0" y="2086826"/>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4</a:t>
          </a:r>
        </a:p>
      </dsp:txBody>
      <dsp:txXfrm>
        <a:off x="32333" y="2119159"/>
        <a:ext cx="3428342" cy="597687"/>
      </dsp:txXfrm>
    </dsp:sp>
    <dsp:sp modelId="{4F53A1C7-4C5E-467C-93C1-9040792E7E19}">
      <dsp:nvSpPr>
        <dsp:cNvPr id="0" name=""/>
        <dsp:cNvSpPr/>
      </dsp:nvSpPr>
      <dsp:spPr>
        <a:xfrm rot="5400000">
          <a:off x="6332962" y="8578"/>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Monitoring applications with App Insights</a:t>
          </a:r>
        </a:p>
      </dsp:txBody>
      <dsp:txXfrm rot="-5400000">
        <a:off x="3493008" y="2874400"/>
        <a:ext cx="6183925" cy="478148"/>
      </dsp:txXfrm>
    </dsp:sp>
    <dsp:sp modelId="{7F905116-DF52-47DE-BE38-A75756ACB8D6}">
      <dsp:nvSpPr>
        <dsp:cNvPr id="0" name=""/>
        <dsp:cNvSpPr/>
      </dsp:nvSpPr>
      <dsp:spPr>
        <a:xfrm>
          <a:off x="0" y="2782297"/>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5</a:t>
          </a:r>
        </a:p>
      </dsp:txBody>
      <dsp:txXfrm>
        <a:off x="32333" y="2814630"/>
        <a:ext cx="3428342" cy="597687"/>
      </dsp:txXfrm>
    </dsp:sp>
    <dsp:sp modelId="{68B4BBEF-B3B9-44EE-93CE-818230DA2604}">
      <dsp:nvSpPr>
        <dsp:cNvPr id="0" name=""/>
        <dsp:cNvSpPr/>
      </dsp:nvSpPr>
      <dsp:spPr>
        <a:xfrm rot="5400000">
          <a:off x="6332962" y="704049"/>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ntroduction to Docker and Azure container service</a:t>
          </a:r>
        </a:p>
      </dsp:txBody>
      <dsp:txXfrm rot="-5400000">
        <a:off x="3493008" y="3569871"/>
        <a:ext cx="6183925" cy="478148"/>
      </dsp:txXfrm>
    </dsp:sp>
    <dsp:sp modelId="{291529A3-D216-4DC4-835B-3321FFD0318C}">
      <dsp:nvSpPr>
        <dsp:cNvPr id="0" name=""/>
        <dsp:cNvSpPr/>
      </dsp:nvSpPr>
      <dsp:spPr>
        <a:xfrm>
          <a:off x="0" y="3477768"/>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6</a:t>
          </a:r>
        </a:p>
      </dsp:txBody>
      <dsp:txXfrm>
        <a:off x="32333" y="3510101"/>
        <a:ext cx="3428342" cy="597687"/>
      </dsp:txXfrm>
    </dsp:sp>
    <dsp:sp modelId="{12B67329-6C74-4CE3-AA42-7F4F34AD07BC}">
      <dsp:nvSpPr>
        <dsp:cNvPr id="0" name=""/>
        <dsp:cNvSpPr/>
      </dsp:nvSpPr>
      <dsp:spPr>
        <a:xfrm rot="5400000">
          <a:off x="6332962" y="1399520"/>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Lap around other Azure dev focused features</a:t>
          </a:r>
        </a:p>
      </dsp:txBody>
      <dsp:txXfrm rot="-5400000">
        <a:off x="3493008" y="4265342"/>
        <a:ext cx="6183925" cy="478148"/>
      </dsp:txXfrm>
    </dsp:sp>
    <dsp:sp modelId="{F1C64B8A-0378-48EC-9D61-9DDE57011B84}">
      <dsp:nvSpPr>
        <dsp:cNvPr id="0" name=""/>
        <dsp:cNvSpPr/>
      </dsp:nvSpPr>
      <dsp:spPr>
        <a:xfrm>
          <a:off x="0" y="4173239"/>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7</a:t>
          </a:r>
        </a:p>
      </dsp:txBody>
      <dsp:txXfrm>
        <a:off x="32333" y="4205572"/>
        <a:ext cx="3428342" cy="5976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288569" y="-2716899"/>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Setting up your developer environment</a:t>
          </a:r>
        </a:p>
      </dsp:txBody>
      <dsp:txXfrm rot="-5400000">
        <a:off x="3493008" y="108863"/>
        <a:ext cx="6179591" cy="558266"/>
      </dsp:txXfrm>
    </dsp:sp>
    <dsp:sp modelId="{A5438C1E-89FB-411C-9EAB-7842FD136D3A}">
      <dsp:nvSpPr>
        <dsp:cNvPr id="0" name=""/>
        <dsp:cNvSpPr/>
      </dsp:nvSpPr>
      <dsp:spPr>
        <a:xfrm>
          <a:off x="0" y="1328"/>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1</a:t>
          </a:r>
        </a:p>
      </dsp:txBody>
      <dsp:txXfrm>
        <a:off x="37751" y="39079"/>
        <a:ext cx="3417506" cy="697833"/>
      </dsp:txXfrm>
    </dsp:sp>
    <dsp:sp modelId="{E6420154-04FB-467D-88B8-1F7D05114D7E}">
      <dsp:nvSpPr>
        <dsp:cNvPr id="0" name=""/>
        <dsp:cNvSpPr/>
      </dsp:nvSpPr>
      <dsp:spPr>
        <a:xfrm rot="5400000">
          <a:off x="6288569" y="-1904897"/>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Building modern cloud apps</a:t>
          </a:r>
        </a:p>
      </dsp:txBody>
      <dsp:txXfrm rot="-5400000">
        <a:off x="3493008" y="920865"/>
        <a:ext cx="6179591" cy="558266"/>
      </dsp:txXfrm>
    </dsp:sp>
    <dsp:sp modelId="{F8539A12-2D82-4C88-98C3-1B1E242F4079}">
      <dsp:nvSpPr>
        <dsp:cNvPr id="0" name=""/>
        <dsp:cNvSpPr/>
      </dsp:nvSpPr>
      <dsp:spPr>
        <a:xfrm>
          <a:off x="0" y="813330"/>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2</a:t>
          </a:r>
        </a:p>
      </dsp:txBody>
      <dsp:txXfrm>
        <a:off x="37751" y="851081"/>
        <a:ext cx="3417506" cy="697833"/>
      </dsp:txXfrm>
    </dsp:sp>
    <dsp:sp modelId="{61247A71-DC9E-4A76-B169-395D763BB202}">
      <dsp:nvSpPr>
        <dsp:cNvPr id="0" name=""/>
        <dsp:cNvSpPr/>
      </dsp:nvSpPr>
      <dsp:spPr>
        <a:xfrm rot="5400000">
          <a:off x="6288569" y="-1092894"/>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Identity with Azure AD and Office 365 APIs</a:t>
          </a:r>
        </a:p>
      </dsp:txBody>
      <dsp:txXfrm rot="-5400000">
        <a:off x="3493008" y="1732868"/>
        <a:ext cx="6179591" cy="558266"/>
      </dsp:txXfrm>
    </dsp:sp>
    <dsp:sp modelId="{1D40B9DC-3DB8-4751-BFF0-8DBEF83FF13C}">
      <dsp:nvSpPr>
        <dsp:cNvPr id="0" name=""/>
        <dsp:cNvSpPr/>
      </dsp:nvSpPr>
      <dsp:spPr>
        <a:xfrm>
          <a:off x="0" y="1625333"/>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3</a:t>
          </a:r>
        </a:p>
      </dsp:txBody>
      <dsp:txXfrm>
        <a:off x="37751" y="1663084"/>
        <a:ext cx="3417506" cy="697833"/>
      </dsp:txXfrm>
    </dsp:sp>
    <dsp:sp modelId="{735907E8-CD71-421F-8950-285DC6511AD6}">
      <dsp:nvSpPr>
        <dsp:cNvPr id="0" name=""/>
        <dsp:cNvSpPr/>
      </dsp:nvSpPr>
      <dsp:spPr>
        <a:xfrm rot="5400000">
          <a:off x="6288569" y="-28089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DevOps with Azure and Visual Studio Team Services</a:t>
          </a:r>
        </a:p>
      </dsp:txBody>
      <dsp:txXfrm rot="-5400000">
        <a:off x="3493008" y="2544871"/>
        <a:ext cx="6179591" cy="558266"/>
      </dsp:txXfrm>
    </dsp:sp>
    <dsp:sp modelId="{03632F8B-4E93-4840-9E4E-68F53BBC5873}">
      <dsp:nvSpPr>
        <dsp:cNvPr id="0" name=""/>
        <dsp:cNvSpPr/>
      </dsp:nvSpPr>
      <dsp:spPr>
        <a:xfrm>
          <a:off x="0" y="2437336"/>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4</a:t>
          </a:r>
        </a:p>
      </dsp:txBody>
      <dsp:txXfrm>
        <a:off x="37751" y="2475087"/>
        <a:ext cx="3417506" cy="697833"/>
      </dsp:txXfrm>
    </dsp:sp>
    <dsp:sp modelId="{4F53A1C7-4C5E-467C-93C1-9040792E7E19}">
      <dsp:nvSpPr>
        <dsp:cNvPr id="0" name=""/>
        <dsp:cNvSpPr/>
      </dsp:nvSpPr>
      <dsp:spPr>
        <a:xfrm rot="5400000">
          <a:off x="6288569" y="53111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b="0" i="0" u="none" kern="1200" dirty="0"/>
            <a:t>Infrastructure as code with </a:t>
          </a:r>
          <a:r>
            <a:rPr lang="en-US" sz="1700" kern="1200" dirty="0"/>
            <a:t>Azure Resource Manager (ARM)</a:t>
          </a:r>
        </a:p>
      </dsp:txBody>
      <dsp:txXfrm rot="-5400000">
        <a:off x="3493008" y="3356874"/>
        <a:ext cx="6179591" cy="558266"/>
      </dsp:txXfrm>
    </dsp:sp>
    <dsp:sp modelId="{7F905116-DF52-47DE-BE38-A75756ACB8D6}">
      <dsp:nvSpPr>
        <dsp:cNvPr id="0" name=""/>
        <dsp:cNvSpPr/>
      </dsp:nvSpPr>
      <dsp:spPr>
        <a:xfrm>
          <a:off x="0" y="3249339"/>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5</a:t>
          </a:r>
        </a:p>
      </dsp:txBody>
      <dsp:txXfrm>
        <a:off x="37751" y="3287090"/>
        <a:ext cx="3417506" cy="697833"/>
      </dsp:txXfrm>
    </dsp:sp>
    <dsp:sp modelId="{221D5F81-3BC4-4811-940D-8B1BBEDB27DE}">
      <dsp:nvSpPr>
        <dsp:cNvPr id="0" name=""/>
        <dsp:cNvSpPr/>
      </dsp:nvSpPr>
      <dsp:spPr>
        <a:xfrm rot="5400000">
          <a:off x="6288569" y="1343113"/>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Monitoring applications with App Insights</a:t>
          </a:r>
        </a:p>
      </dsp:txBody>
      <dsp:txXfrm rot="-5400000">
        <a:off x="3493008" y="4168876"/>
        <a:ext cx="6179591" cy="558266"/>
      </dsp:txXfrm>
    </dsp:sp>
    <dsp:sp modelId="{855CB823-9B0A-44F5-93DF-71A72EAFEDC3}">
      <dsp:nvSpPr>
        <dsp:cNvPr id="0" name=""/>
        <dsp:cNvSpPr/>
      </dsp:nvSpPr>
      <dsp:spPr>
        <a:xfrm>
          <a:off x="0" y="4061341"/>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6</a:t>
          </a:r>
        </a:p>
      </dsp:txBody>
      <dsp:txXfrm>
        <a:off x="37751" y="4099092"/>
        <a:ext cx="3417506" cy="6978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443945" y="-290967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Overview</a:t>
          </a:r>
        </a:p>
      </dsp:txBody>
      <dsp:txXfrm rot="-5400000">
        <a:off x="3493008" y="56296"/>
        <a:ext cx="6194761" cy="277855"/>
      </dsp:txXfrm>
    </dsp:sp>
    <dsp:sp modelId="{A5438C1E-89FB-411C-9EAB-7842FD136D3A}">
      <dsp:nvSpPr>
        <dsp:cNvPr id="0" name=""/>
        <dsp:cNvSpPr/>
      </dsp:nvSpPr>
      <dsp:spPr>
        <a:xfrm>
          <a:off x="0" y="277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00 AM – 9:30</a:t>
          </a:r>
        </a:p>
      </dsp:txBody>
      <dsp:txXfrm>
        <a:off x="18789" y="21563"/>
        <a:ext cx="3455430" cy="347318"/>
      </dsp:txXfrm>
    </dsp:sp>
    <dsp:sp modelId="{0F76540A-83A1-43AF-A915-E9CCF31AD761}">
      <dsp:nvSpPr>
        <dsp:cNvPr id="0" name=""/>
        <dsp:cNvSpPr/>
      </dsp:nvSpPr>
      <dsp:spPr>
        <a:xfrm rot="5400000">
          <a:off x="6443945" y="-250553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Tools and developer environment overview </a:t>
          </a:r>
          <a:r>
            <a:rPr lang="en-US" sz="1400" b="0" i="0" u="none" kern="1200" dirty="0"/>
            <a:t>Lecture + Demo</a:t>
          </a:r>
          <a:endParaRPr lang="en-US" sz="1400" kern="1200" dirty="0"/>
        </a:p>
      </dsp:txBody>
      <dsp:txXfrm rot="-5400000">
        <a:off x="3493008" y="460437"/>
        <a:ext cx="6194761" cy="277855"/>
      </dsp:txXfrm>
    </dsp:sp>
    <dsp:sp modelId="{8FF1422C-FB3D-4E40-B9AA-2876EA0039EA}">
      <dsp:nvSpPr>
        <dsp:cNvPr id="0" name=""/>
        <dsp:cNvSpPr/>
      </dsp:nvSpPr>
      <dsp:spPr>
        <a:xfrm>
          <a:off x="0" y="406916"/>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30 – 10:00</a:t>
          </a:r>
        </a:p>
      </dsp:txBody>
      <dsp:txXfrm>
        <a:off x="18789" y="425705"/>
        <a:ext cx="3455430" cy="347318"/>
      </dsp:txXfrm>
    </dsp:sp>
    <dsp:sp modelId="{45F3B3F6-2CED-45D8-B6E2-0409440DA4C3}">
      <dsp:nvSpPr>
        <dsp:cNvPr id="0" name=""/>
        <dsp:cNvSpPr/>
      </dsp:nvSpPr>
      <dsp:spPr>
        <a:xfrm rot="5400000">
          <a:off x="6443945" y="-2101389"/>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1 - Tools and Developer Environment Setup</a:t>
          </a:r>
        </a:p>
      </dsp:txBody>
      <dsp:txXfrm rot="-5400000">
        <a:off x="3493008" y="864579"/>
        <a:ext cx="6194761" cy="277855"/>
      </dsp:txXfrm>
    </dsp:sp>
    <dsp:sp modelId="{4F72D66B-A8F6-4DB6-8FBA-070AAE1CF9EE}">
      <dsp:nvSpPr>
        <dsp:cNvPr id="0" name=""/>
        <dsp:cNvSpPr/>
      </dsp:nvSpPr>
      <dsp:spPr>
        <a:xfrm>
          <a:off x="0" y="811058"/>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0 – 10:30</a:t>
          </a:r>
        </a:p>
      </dsp:txBody>
      <dsp:txXfrm>
        <a:off x="18789" y="829847"/>
        <a:ext cx="3455430" cy="347318"/>
      </dsp:txXfrm>
    </dsp:sp>
    <dsp:sp modelId="{E12892D9-F98F-4E4E-B9C8-0D972EE87560}">
      <dsp:nvSpPr>
        <dsp:cNvPr id="0" name=""/>
        <dsp:cNvSpPr/>
      </dsp:nvSpPr>
      <dsp:spPr>
        <a:xfrm rot="5400000">
          <a:off x="6443945" y="-1697247"/>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1268721"/>
        <a:ext cx="6194761" cy="277855"/>
      </dsp:txXfrm>
    </dsp:sp>
    <dsp:sp modelId="{71590097-DEB6-41CE-BD82-632DBACBA39B}">
      <dsp:nvSpPr>
        <dsp:cNvPr id="0" name=""/>
        <dsp:cNvSpPr/>
      </dsp:nvSpPr>
      <dsp:spPr>
        <a:xfrm>
          <a:off x="0" y="121519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30 – 10:45</a:t>
          </a:r>
        </a:p>
      </dsp:txBody>
      <dsp:txXfrm>
        <a:off x="18789" y="1233988"/>
        <a:ext cx="3455430" cy="347318"/>
      </dsp:txXfrm>
    </dsp:sp>
    <dsp:sp modelId="{E27862F7-10C7-472B-87FB-B72257CD730B}">
      <dsp:nvSpPr>
        <dsp:cNvPr id="0" name=""/>
        <dsp:cNvSpPr/>
      </dsp:nvSpPr>
      <dsp:spPr>
        <a:xfrm rot="5400000">
          <a:off x="6443945" y="-129310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1 - Tools and Developer Environment Setup (Cont'd)</a:t>
          </a:r>
        </a:p>
      </dsp:txBody>
      <dsp:txXfrm rot="-5400000">
        <a:off x="3493008" y="1672863"/>
        <a:ext cx="6194761" cy="277855"/>
      </dsp:txXfrm>
    </dsp:sp>
    <dsp:sp modelId="{350959BE-A20B-4B1B-9A79-239BC65E6964}">
      <dsp:nvSpPr>
        <dsp:cNvPr id="0" name=""/>
        <dsp:cNvSpPr/>
      </dsp:nvSpPr>
      <dsp:spPr>
        <a:xfrm>
          <a:off x="0" y="1619341"/>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 10:45 -11:15</a:t>
          </a:r>
        </a:p>
      </dsp:txBody>
      <dsp:txXfrm>
        <a:off x="18789" y="1638130"/>
        <a:ext cx="3455430" cy="347318"/>
      </dsp:txXfrm>
    </dsp:sp>
    <dsp:sp modelId="{B61D215C-99BF-4A69-A71B-1F574E932348}">
      <dsp:nvSpPr>
        <dsp:cNvPr id="0" name=""/>
        <dsp:cNvSpPr/>
      </dsp:nvSpPr>
      <dsp:spPr>
        <a:xfrm rot="5400000">
          <a:off x="6443945" y="-88896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Modern Cloud Apps </a:t>
          </a:r>
          <a:r>
            <a:rPr lang="en-US" sz="1400" b="0" i="0" u="none" kern="1200" dirty="0"/>
            <a:t>Lecture + Demo</a:t>
          </a:r>
          <a:endParaRPr lang="en-US" sz="1400" kern="1200" dirty="0"/>
        </a:p>
      </dsp:txBody>
      <dsp:txXfrm rot="-5400000">
        <a:off x="3493008" y="2077005"/>
        <a:ext cx="6194761" cy="277855"/>
      </dsp:txXfrm>
    </dsp:sp>
    <dsp:sp modelId="{9BE55685-5B91-4ED0-A3F3-E0AFDD677C54}">
      <dsp:nvSpPr>
        <dsp:cNvPr id="0" name=""/>
        <dsp:cNvSpPr/>
      </dsp:nvSpPr>
      <dsp:spPr>
        <a:xfrm>
          <a:off x="0" y="2023483"/>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1:15 - 12:00 PM</a:t>
          </a:r>
        </a:p>
      </dsp:txBody>
      <dsp:txXfrm>
        <a:off x="18789" y="2042272"/>
        <a:ext cx="3455430" cy="347318"/>
      </dsp:txXfrm>
    </dsp:sp>
    <dsp:sp modelId="{400F7EFE-C693-404B-97E3-2D2B46DCED50}">
      <dsp:nvSpPr>
        <dsp:cNvPr id="0" name=""/>
        <dsp:cNvSpPr/>
      </dsp:nvSpPr>
      <dsp:spPr>
        <a:xfrm rot="5400000">
          <a:off x="6443945" y="-48482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Lunch</a:t>
          </a:r>
        </a:p>
      </dsp:txBody>
      <dsp:txXfrm rot="-5400000">
        <a:off x="3493008" y="2481146"/>
        <a:ext cx="6194761" cy="277855"/>
      </dsp:txXfrm>
    </dsp:sp>
    <dsp:sp modelId="{A22C4155-616D-4F4C-A223-723BEA428ED7}">
      <dsp:nvSpPr>
        <dsp:cNvPr id="0" name=""/>
        <dsp:cNvSpPr/>
      </dsp:nvSpPr>
      <dsp:spPr>
        <a:xfrm>
          <a:off x="0" y="2427625"/>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2:00 -1:00</a:t>
          </a:r>
        </a:p>
      </dsp:txBody>
      <dsp:txXfrm>
        <a:off x="18789" y="2446414"/>
        <a:ext cx="3455430" cy="347318"/>
      </dsp:txXfrm>
    </dsp:sp>
    <dsp:sp modelId="{D43E34EF-5CE0-465E-BECF-EAD8EAC9838E}">
      <dsp:nvSpPr>
        <dsp:cNvPr id="0" name=""/>
        <dsp:cNvSpPr/>
      </dsp:nvSpPr>
      <dsp:spPr>
        <a:xfrm rot="5400000">
          <a:off x="6443945" y="-80680"/>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2 - Modern Cloud Apps</a:t>
          </a:r>
        </a:p>
      </dsp:txBody>
      <dsp:txXfrm rot="-5400000">
        <a:off x="3493008" y="2885288"/>
        <a:ext cx="6194761" cy="277855"/>
      </dsp:txXfrm>
    </dsp:sp>
    <dsp:sp modelId="{FBCD6E4D-02F9-4B96-B891-81E6D680DC0C}">
      <dsp:nvSpPr>
        <dsp:cNvPr id="0" name=""/>
        <dsp:cNvSpPr/>
      </dsp:nvSpPr>
      <dsp:spPr>
        <a:xfrm>
          <a:off x="0" y="2831767"/>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 - 2:30</a:t>
          </a:r>
        </a:p>
      </dsp:txBody>
      <dsp:txXfrm>
        <a:off x="18789" y="2850556"/>
        <a:ext cx="3455430" cy="347318"/>
      </dsp:txXfrm>
    </dsp:sp>
    <dsp:sp modelId="{FC331AB9-0D83-4CC7-9D27-73A841AB883D}">
      <dsp:nvSpPr>
        <dsp:cNvPr id="0" name=""/>
        <dsp:cNvSpPr/>
      </dsp:nvSpPr>
      <dsp:spPr>
        <a:xfrm rot="5400000">
          <a:off x="6443945" y="32346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3289430"/>
        <a:ext cx="6194761" cy="277855"/>
      </dsp:txXfrm>
    </dsp:sp>
    <dsp:sp modelId="{0EF06FAD-3524-4BD1-B078-697A8FAE965D}">
      <dsp:nvSpPr>
        <dsp:cNvPr id="0" name=""/>
        <dsp:cNvSpPr/>
      </dsp:nvSpPr>
      <dsp:spPr>
        <a:xfrm>
          <a:off x="0" y="323590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30 - 2:45</a:t>
          </a:r>
        </a:p>
      </dsp:txBody>
      <dsp:txXfrm>
        <a:off x="18789" y="3254698"/>
        <a:ext cx="3455430" cy="347318"/>
      </dsp:txXfrm>
    </dsp:sp>
    <dsp:sp modelId="{80AC146E-A9F7-4B60-B06C-7F0E6092BDB4}">
      <dsp:nvSpPr>
        <dsp:cNvPr id="0" name=""/>
        <dsp:cNvSpPr/>
      </dsp:nvSpPr>
      <dsp:spPr>
        <a:xfrm rot="5400000">
          <a:off x="6443945" y="72760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Identity and Office365 APIs Overview </a:t>
          </a:r>
          <a:r>
            <a:rPr lang="en-US" sz="1400" b="0" i="0" u="none" kern="1200" dirty="0"/>
            <a:t>Lecture + Demo</a:t>
          </a:r>
          <a:endParaRPr lang="en-US" sz="1400" kern="1200" dirty="0"/>
        </a:p>
      </dsp:txBody>
      <dsp:txXfrm rot="-5400000">
        <a:off x="3493008" y="3693572"/>
        <a:ext cx="6194761" cy="277855"/>
      </dsp:txXfrm>
    </dsp:sp>
    <dsp:sp modelId="{B33B9E8A-E9A9-4A69-9E54-CDC82E49B1FD}">
      <dsp:nvSpPr>
        <dsp:cNvPr id="0" name=""/>
        <dsp:cNvSpPr/>
      </dsp:nvSpPr>
      <dsp:spPr>
        <a:xfrm>
          <a:off x="0" y="3640050"/>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45 - 3:45</a:t>
          </a:r>
        </a:p>
      </dsp:txBody>
      <dsp:txXfrm>
        <a:off x="18789" y="3658839"/>
        <a:ext cx="3455430" cy="347318"/>
      </dsp:txXfrm>
    </dsp:sp>
    <dsp:sp modelId="{34CC8437-3B2F-4B76-B5DF-2EE06EE97321}">
      <dsp:nvSpPr>
        <dsp:cNvPr id="0" name=""/>
        <dsp:cNvSpPr/>
      </dsp:nvSpPr>
      <dsp:spPr>
        <a:xfrm rot="5400000">
          <a:off x="6443945" y="113174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3 - Identity and Office365 APIs</a:t>
          </a:r>
        </a:p>
      </dsp:txBody>
      <dsp:txXfrm rot="-5400000">
        <a:off x="3493008" y="4097714"/>
        <a:ext cx="6194761" cy="277855"/>
      </dsp:txXfrm>
    </dsp:sp>
    <dsp:sp modelId="{BA362265-BFC7-4AAA-9A72-FAE87330D06A}">
      <dsp:nvSpPr>
        <dsp:cNvPr id="0" name=""/>
        <dsp:cNvSpPr/>
      </dsp:nvSpPr>
      <dsp:spPr>
        <a:xfrm>
          <a:off x="0" y="4044192"/>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3:45 - 4:45</a:t>
          </a:r>
        </a:p>
      </dsp:txBody>
      <dsp:txXfrm>
        <a:off x="18789" y="4062981"/>
        <a:ext cx="3455430" cy="347318"/>
      </dsp:txXfrm>
    </dsp:sp>
    <dsp:sp modelId="{156A4FBD-5C59-4C21-B9DB-EA5715FD3136}">
      <dsp:nvSpPr>
        <dsp:cNvPr id="0" name=""/>
        <dsp:cNvSpPr/>
      </dsp:nvSpPr>
      <dsp:spPr>
        <a:xfrm rot="5400000">
          <a:off x="6443945" y="1535886"/>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Q&amp;A</a:t>
          </a:r>
        </a:p>
      </dsp:txBody>
      <dsp:txXfrm rot="-5400000">
        <a:off x="3493008" y="4501855"/>
        <a:ext cx="6194761" cy="277855"/>
      </dsp:txXfrm>
    </dsp:sp>
    <dsp:sp modelId="{4402A6D0-E73F-47D7-AFAB-86D03A52490D}">
      <dsp:nvSpPr>
        <dsp:cNvPr id="0" name=""/>
        <dsp:cNvSpPr/>
      </dsp:nvSpPr>
      <dsp:spPr>
        <a:xfrm>
          <a:off x="0" y="444833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4:45 - 5:00</a:t>
          </a:r>
        </a:p>
      </dsp:txBody>
      <dsp:txXfrm>
        <a:off x="18789" y="4467123"/>
        <a:ext cx="3455430" cy="3473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455751" y="-292578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Recap</a:t>
          </a:r>
          <a:endParaRPr lang="en-US" sz="1300" kern="1200" dirty="0"/>
        </a:p>
      </dsp:txBody>
      <dsp:txXfrm rot="-5400000">
        <a:off x="3493008" y="50833"/>
        <a:ext cx="6195913" cy="256546"/>
      </dsp:txXfrm>
    </dsp:sp>
    <dsp:sp modelId="{EC1EB1B5-90A7-493B-AD9C-BA31EA560306}">
      <dsp:nvSpPr>
        <dsp:cNvPr id="0" name=""/>
        <dsp:cNvSpPr/>
      </dsp:nvSpPr>
      <dsp:spPr>
        <a:xfrm>
          <a:off x="0" y="141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00 AM-9:15</a:t>
          </a:r>
          <a:endParaRPr lang="en-US" sz="1600" kern="1200" dirty="0"/>
        </a:p>
      </dsp:txBody>
      <dsp:txXfrm>
        <a:off x="17348" y="18764"/>
        <a:ext cx="3458312" cy="320684"/>
      </dsp:txXfrm>
    </dsp:sp>
    <dsp:sp modelId="{98997997-98D1-4045-81E0-9243CD594E5D}">
      <dsp:nvSpPr>
        <dsp:cNvPr id="0" name=""/>
        <dsp:cNvSpPr/>
      </dsp:nvSpPr>
      <dsp:spPr>
        <a:xfrm rot="5400000">
          <a:off x="6455751" y="-255263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Continuous integration Lecture + Demo</a:t>
          </a:r>
          <a:endParaRPr lang="en-US" sz="1300" kern="1200" dirty="0"/>
        </a:p>
      </dsp:txBody>
      <dsp:txXfrm rot="-5400000">
        <a:off x="3493008" y="423983"/>
        <a:ext cx="6195913" cy="256546"/>
      </dsp:txXfrm>
    </dsp:sp>
    <dsp:sp modelId="{BE3EDFDA-3F7A-4C2E-8E05-24C88FC3829B}">
      <dsp:nvSpPr>
        <dsp:cNvPr id="0" name=""/>
        <dsp:cNvSpPr/>
      </dsp:nvSpPr>
      <dsp:spPr>
        <a:xfrm>
          <a:off x="0" y="37456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15 - 10:00</a:t>
          </a:r>
          <a:endParaRPr lang="en-US" sz="1600" kern="1200" dirty="0"/>
        </a:p>
      </dsp:txBody>
      <dsp:txXfrm>
        <a:off x="17348" y="391914"/>
        <a:ext cx="3458312" cy="320684"/>
      </dsp:txXfrm>
    </dsp:sp>
    <dsp:sp modelId="{54F29C5A-0C6D-4587-87C8-30905D844F15}">
      <dsp:nvSpPr>
        <dsp:cNvPr id="0" name=""/>
        <dsp:cNvSpPr/>
      </dsp:nvSpPr>
      <dsp:spPr>
        <a:xfrm rot="5400000">
          <a:off x="6455751" y="-2179490"/>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797132"/>
        <a:ext cx="6195913" cy="256546"/>
      </dsp:txXfrm>
    </dsp:sp>
    <dsp:sp modelId="{7F2A1588-C4A7-4418-8F86-D615469ACC8F}">
      <dsp:nvSpPr>
        <dsp:cNvPr id="0" name=""/>
        <dsp:cNvSpPr/>
      </dsp:nvSpPr>
      <dsp:spPr>
        <a:xfrm>
          <a:off x="0" y="747715"/>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0 - 	10:15</a:t>
          </a:r>
          <a:endParaRPr lang="en-US" sz="1600" kern="1200" dirty="0"/>
        </a:p>
      </dsp:txBody>
      <dsp:txXfrm>
        <a:off x="17348" y="765063"/>
        <a:ext cx="3458312" cy="320684"/>
      </dsp:txXfrm>
    </dsp:sp>
    <dsp:sp modelId="{305D479E-3E82-4E40-8591-7920046044CA}">
      <dsp:nvSpPr>
        <dsp:cNvPr id="0" name=""/>
        <dsp:cNvSpPr/>
      </dsp:nvSpPr>
      <dsp:spPr>
        <a:xfrm rot="5400000">
          <a:off x="6455751" y="-180634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4 - Continuous integration</a:t>
          </a:r>
          <a:endParaRPr lang="en-US" sz="1300" kern="1200" dirty="0"/>
        </a:p>
      </dsp:txBody>
      <dsp:txXfrm rot="-5400000">
        <a:off x="3493008" y="1170281"/>
        <a:ext cx="6195913" cy="256546"/>
      </dsp:txXfrm>
    </dsp:sp>
    <dsp:sp modelId="{A95FCAC1-A86A-49E6-93F3-35518D1CB588}">
      <dsp:nvSpPr>
        <dsp:cNvPr id="0" name=""/>
        <dsp:cNvSpPr/>
      </dsp:nvSpPr>
      <dsp:spPr>
        <a:xfrm>
          <a:off x="0" y="112086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15 - 11:15</a:t>
          </a:r>
          <a:endParaRPr lang="en-US" sz="1600" kern="1200" dirty="0"/>
        </a:p>
      </dsp:txBody>
      <dsp:txXfrm>
        <a:off x="17348" y="1138212"/>
        <a:ext cx="3458312" cy="320684"/>
      </dsp:txXfrm>
    </dsp:sp>
    <dsp:sp modelId="{7D841E58-123D-4354-A16F-013633AFBD3A}">
      <dsp:nvSpPr>
        <dsp:cNvPr id="0" name=""/>
        <dsp:cNvSpPr/>
      </dsp:nvSpPr>
      <dsp:spPr>
        <a:xfrm rot="5400000">
          <a:off x="6455751" y="-143319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Infrastructure as code (ARM)	Lecture + Demo</a:t>
          </a:r>
          <a:endParaRPr lang="en-US" sz="1300" kern="1200" dirty="0"/>
        </a:p>
      </dsp:txBody>
      <dsp:txXfrm rot="-5400000">
        <a:off x="3493008" y="1543431"/>
        <a:ext cx="6195913" cy="256546"/>
      </dsp:txXfrm>
    </dsp:sp>
    <dsp:sp modelId="{9315BC47-31EE-4CB8-8DAE-86843AE51B70}">
      <dsp:nvSpPr>
        <dsp:cNvPr id="0" name=""/>
        <dsp:cNvSpPr/>
      </dsp:nvSpPr>
      <dsp:spPr>
        <a:xfrm>
          <a:off x="0" y="149401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1:15 - 12:00 PM</a:t>
          </a:r>
          <a:endParaRPr lang="en-US" sz="1600" kern="1200" dirty="0"/>
        </a:p>
      </dsp:txBody>
      <dsp:txXfrm>
        <a:off x="17348" y="1511362"/>
        <a:ext cx="3458312" cy="320684"/>
      </dsp:txXfrm>
    </dsp:sp>
    <dsp:sp modelId="{3924DC22-42FB-4A35-90F3-3F70DC1B413B}">
      <dsp:nvSpPr>
        <dsp:cNvPr id="0" name=""/>
        <dsp:cNvSpPr/>
      </dsp:nvSpPr>
      <dsp:spPr>
        <a:xfrm rot="5400000">
          <a:off x="6455751" y="-1060042"/>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Lunch</a:t>
          </a:r>
          <a:endParaRPr lang="en-US" sz="1300" kern="1200" dirty="0"/>
        </a:p>
      </dsp:txBody>
      <dsp:txXfrm rot="-5400000">
        <a:off x="3493008" y="1916580"/>
        <a:ext cx="6195913" cy="256546"/>
      </dsp:txXfrm>
    </dsp:sp>
    <dsp:sp modelId="{9AA9F4C6-7CDE-4287-AB42-7935505FC6A7}">
      <dsp:nvSpPr>
        <dsp:cNvPr id="0" name=""/>
        <dsp:cNvSpPr/>
      </dsp:nvSpPr>
      <dsp:spPr>
        <a:xfrm>
          <a:off x="0" y="1867163"/>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2:00 - 1:00</a:t>
          </a:r>
          <a:endParaRPr lang="en-US" sz="1600" kern="1200" dirty="0"/>
        </a:p>
      </dsp:txBody>
      <dsp:txXfrm>
        <a:off x="17348" y="1884511"/>
        <a:ext cx="3458312" cy="320684"/>
      </dsp:txXfrm>
    </dsp:sp>
    <dsp:sp modelId="{A98CB637-414B-4235-9322-CDB9B3AB4396}">
      <dsp:nvSpPr>
        <dsp:cNvPr id="0" name=""/>
        <dsp:cNvSpPr/>
      </dsp:nvSpPr>
      <dsp:spPr>
        <a:xfrm rot="5400000">
          <a:off x="6455751" y="-68689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5 - Infrastructure as code (ARM)</a:t>
          </a:r>
          <a:endParaRPr lang="en-US" sz="1300" kern="1200" dirty="0"/>
        </a:p>
      </dsp:txBody>
      <dsp:txXfrm rot="-5400000">
        <a:off x="3493008" y="2289729"/>
        <a:ext cx="6195913" cy="256546"/>
      </dsp:txXfrm>
    </dsp:sp>
    <dsp:sp modelId="{050F393B-63AE-4969-8E65-7A35A5A012B7}">
      <dsp:nvSpPr>
        <dsp:cNvPr id="0" name=""/>
        <dsp:cNvSpPr/>
      </dsp:nvSpPr>
      <dsp:spPr>
        <a:xfrm>
          <a:off x="0" y="224031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 - 2:00</a:t>
          </a:r>
          <a:endParaRPr lang="en-US" sz="1600" kern="1200" dirty="0"/>
        </a:p>
      </dsp:txBody>
      <dsp:txXfrm>
        <a:off x="17348" y="2257660"/>
        <a:ext cx="3458312" cy="320684"/>
      </dsp:txXfrm>
    </dsp:sp>
    <dsp:sp modelId="{834F7C11-0897-40E6-B2BA-5A8F6FE36D85}">
      <dsp:nvSpPr>
        <dsp:cNvPr id="0" name=""/>
        <dsp:cNvSpPr/>
      </dsp:nvSpPr>
      <dsp:spPr>
        <a:xfrm rot="5400000">
          <a:off x="6455751" y="-31374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2662879"/>
        <a:ext cx="6195913" cy="256546"/>
      </dsp:txXfrm>
    </dsp:sp>
    <dsp:sp modelId="{5201838D-804B-4A34-8E4A-7EC6008DE4E7}">
      <dsp:nvSpPr>
        <dsp:cNvPr id="0" name=""/>
        <dsp:cNvSpPr/>
      </dsp:nvSpPr>
      <dsp:spPr>
        <a:xfrm>
          <a:off x="0" y="261346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00 - 2:15</a:t>
          </a:r>
          <a:endParaRPr lang="en-US" sz="1600" kern="1200" dirty="0"/>
        </a:p>
      </dsp:txBody>
      <dsp:txXfrm>
        <a:off x="17348" y="2630810"/>
        <a:ext cx="3458312" cy="320684"/>
      </dsp:txXfrm>
    </dsp:sp>
    <dsp:sp modelId="{5A1F3ACD-366F-49BC-8AFF-1280C8CECD08}">
      <dsp:nvSpPr>
        <dsp:cNvPr id="0" name=""/>
        <dsp:cNvSpPr/>
      </dsp:nvSpPr>
      <dsp:spPr>
        <a:xfrm rot="5400000">
          <a:off x="6455751" y="5940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Monitoring  Lecture + Demo</a:t>
          </a:r>
          <a:endParaRPr lang="en-US" sz="1300" kern="1200" dirty="0"/>
        </a:p>
      </dsp:txBody>
      <dsp:txXfrm rot="-5400000">
        <a:off x="3493008" y="3036028"/>
        <a:ext cx="6195913" cy="256546"/>
      </dsp:txXfrm>
    </dsp:sp>
    <dsp:sp modelId="{96A5357F-26FB-46B9-AC76-401E637DCA6D}">
      <dsp:nvSpPr>
        <dsp:cNvPr id="0" name=""/>
        <dsp:cNvSpPr/>
      </dsp:nvSpPr>
      <dsp:spPr>
        <a:xfrm>
          <a:off x="0" y="2986611"/>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15 - 3:00</a:t>
          </a:r>
          <a:endParaRPr lang="en-US" sz="1600" kern="1200" dirty="0"/>
        </a:p>
      </dsp:txBody>
      <dsp:txXfrm>
        <a:off x="17348" y="3003959"/>
        <a:ext cx="3458312" cy="320684"/>
      </dsp:txXfrm>
    </dsp:sp>
    <dsp:sp modelId="{5C094C1F-0A4B-4924-94B4-9EF233FD65DC}">
      <dsp:nvSpPr>
        <dsp:cNvPr id="0" name=""/>
        <dsp:cNvSpPr/>
      </dsp:nvSpPr>
      <dsp:spPr>
        <a:xfrm rot="5400000">
          <a:off x="6455751" y="43255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6 - </a:t>
          </a:r>
          <a:r>
            <a:rPr lang="en-US" sz="1300" kern="1200" dirty="0"/>
            <a:t>Monitoring applications with App Insights</a:t>
          </a:r>
        </a:p>
      </dsp:txBody>
      <dsp:txXfrm rot="-5400000">
        <a:off x="3493008" y="3409178"/>
        <a:ext cx="6195913" cy="256546"/>
      </dsp:txXfrm>
    </dsp:sp>
    <dsp:sp modelId="{7D920196-9617-466A-B09A-F7961BB9A172}">
      <dsp:nvSpPr>
        <dsp:cNvPr id="0" name=""/>
        <dsp:cNvSpPr/>
      </dsp:nvSpPr>
      <dsp:spPr>
        <a:xfrm>
          <a:off x="0" y="335976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3:00 - 4:00</a:t>
          </a:r>
          <a:endParaRPr lang="en-US" sz="1600" kern="1200" dirty="0"/>
        </a:p>
      </dsp:txBody>
      <dsp:txXfrm>
        <a:off x="17348" y="3377108"/>
        <a:ext cx="3458312" cy="320684"/>
      </dsp:txXfrm>
    </dsp:sp>
    <dsp:sp modelId="{CE892AC9-582D-4780-B830-4A06AD9AC9FF}">
      <dsp:nvSpPr>
        <dsp:cNvPr id="0" name=""/>
        <dsp:cNvSpPr/>
      </dsp:nvSpPr>
      <dsp:spPr>
        <a:xfrm rot="5400000">
          <a:off x="6455751" y="805704"/>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fr-FR" sz="1300" b="0" i="0" u="none" kern="1200" dirty="0"/>
            <a:t>Containers (Docker, ACS) </a:t>
          </a:r>
          <a:r>
            <a:rPr lang="en-US" sz="1300" b="0" i="0" u="none" kern="1200" dirty="0"/>
            <a:t>Lecture + Demo</a:t>
          </a:r>
          <a:endParaRPr lang="fr-FR" sz="1300" kern="1200" dirty="0"/>
        </a:p>
      </dsp:txBody>
      <dsp:txXfrm rot="-5400000">
        <a:off x="3493008" y="3782327"/>
        <a:ext cx="6195913" cy="256546"/>
      </dsp:txXfrm>
    </dsp:sp>
    <dsp:sp modelId="{E6A402E3-81A1-4561-9072-A0080B31C16A}">
      <dsp:nvSpPr>
        <dsp:cNvPr id="0" name=""/>
        <dsp:cNvSpPr/>
      </dsp:nvSpPr>
      <dsp:spPr>
        <a:xfrm>
          <a:off x="0" y="373291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fr-FR" sz="1600" b="0" i="0" u="none" kern="1200" dirty="0"/>
            <a:t>4:00 - 4:45</a:t>
          </a:r>
          <a:endParaRPr lang="fr-FR" sz="1600" kern="1200" dirty="0"/>
        </a:p>
      </dsp:txBody>
      <dsp:txXfrm>
        <a:off x="17348" y="3750258"/>
        <a:ext cx="3458312" cy="320684"/>
      </dsp:txXfrm>
    </dsp:sp>
    <dsp:sp modelId="{FCB53D80-E3FD-45BF-855B-E7A58B60BB41}">
      <dsp:nvSpPr>
        <dsp:cNvPr id="0" name=""/>
        <dsp:cNvSpPr/>
      </dsp:nvSpPr>
      <dsp:spPr>
        <a:xfrm rot="5400000">
          <a:off x="6455751" y="117885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Lap around other Azure dev focused features</a:t>
          </a:r>
        </a:p>
      </dsp:txBody>
      <dsp:txXfrm rot="-5400000">
        <a:off x="3493008" y="4155476"/>
        <a:ext cx="6195913" cy="256546"/>
      </dsp:txXfrm>
    </dsp:sp>
    <dsp:sp modelId="{5660565C-EDD2-4E3A-BD08-26E1F89DE188}">
      <dsp:nvSpPr>
        <dsp:cNvPr id="0" name=""/>
        <dsp:cNvSpPr/>
      </dsp:nvSpPr>
      <dsp:spPr>
        <a:xfrm>
          <a:off x="0" y="4106059"/>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4:45 - 5:15</a:t>
          </a:r>
          <a:endParaRPr lang="fr-FR" sz="1600" kern="1200" dirty="0"/>
        </a:p>
      </dsp:txBody>
      <dsp:txXfrm>
        <a:off x="17348" y="4123407"/>
        <a:ext cx="3458312" cy="320684"/>
      </dsp:txXfrm>
    </dsp:sp>
    <dsp:sp modelId="{4558F624-6BD5-47FA-B89F-E5E27FECD9A2}">
      <dsp:nvSpPr>
        <dsp:cNvPr id="0" name=""/>
        <dsp:cNvSpPr/>
      </dsp:nvSpPr>
      <dsp:spPr>
        <a:xfrm rot="5400000">
          <a:off x="6455751" y="155200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pt-BR" sz="1300" b="0" i="0" u="none" kern="1200" dirty="0"/>
            <a:t>Q&amp;A</a:t>
          </a:r>
          <a:endParaRPr lang="pt-BR" sz="1300" kern="1200" dirty="0"/>
        </a:p>
      </dsp:txBody>
      <dsp:txXfrm rot="-5400000">
        <a:off x="3493008" y="4528626"/>
        <a:ext cx="6195913" cy="256546"/>
      </dsp:txXfrm>
    </dsp:sp>
    <dsp:sp modelId="{F1826C26-2A9F-4828-9E74-097318C4E859}">
      <dsp:nvSpPr>
        <dsp:cNvPr id="0" name=""/>
        <dsp:cNvSpPr/>
      </dsp:nvSpPr>
      <dsp:spPr>
        <a:xfrm>
          <a:off x="0" y="4479208"/>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pt-BR" sz="1600" b="0" i="0" u="none" kern="1200" dirty="0"/>
            <a:t>5:15 - 5:30PM</a:t>
          </a:r>
          <a:endParaRPr lang="pt-BR" sz="1600" kern="1200" dirty="0"/>
        </a:p>
      </dsp:txBody>
      <dsp:txXfrm>
        <a:off x="17348" y="4496556"/>
        <a:ext cx="3458312" cy="32068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11/14/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11/14/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6</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 10: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1</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11/14/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5</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29</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0</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4</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5</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11/14/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0.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3" Type="http://schemas.openxmlformats.org/officeDocument/2006/relationships/image" Target="../media/image48.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 Type="http://schemas.openxmlformats.org/officeDocument/2006/relationships/notesSlide" Target="../notesSlides/notesSlide17.xml"/><Relationship Id="rId16" Type="http://schemas.openxmlformats.org/officeDocument/2006/relationships/image" Target="../media/image61.png"/><Relationship Id="rId20" Type="http://schemas.openxmlformats.org/officeDocument/2006/relationships/image" Target="../media/image65.png"/><Relationship Id="rId29" Type="http://schemas.openxmlformats.org/officeDocument/2006/relationships/image" Target="../media/image74.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26" Type="http://schemas.openxmlformats.org/officeDocument/2006/relationships/image" Target="../media/image118.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5" Type="http://schemas.openxmlformats.org/officeDocument/2006/relationships/image" Target="../media/image117.png"/><Relationship Id="rId2" Type="http://schemas.openxmlformats.org/officeDocument/2006/relationships/notesSlide" Target="../notesSlides/notesSlide19.xml"/><Relationship Id="rId16" Type="http://schemas.openxmlformats.org/officeDocument/2006/relationships/image" Target="../media/image109.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11.xml"/><Relationship Id="rId6" Type="http://schemas.openxmlformats.org/officeDocument/2006/relationships/image" Target="../media/image99.png"/><Relationship Id="rId11" Type="http://schemas.openxmlformats.org/officeDocument/2006/relationships/image" Target="../media/image104.png"/><Relationship Id="rId24" Type="http://schemas.openxmlformats.org/officeDocument/2006/relationships/image" Target="../media/image76.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28" Type="http://schemas.openxmlformats.org/officeDocument/2006/relationships/image" Target="../media/image120.png"/><Relationship Id="rId10" Type="http://schemas.openxmlformats.org/officeDocument/2006/relationships/image" Target="../media/image103.png"/><Relationship Id="rId19" Type="http://schemas.openxmlformats.org/officeDocument/2006/relationships/image" Target="../media/image112.png"/><Relationship Id="rId31" Type="http://schemas.openxmlformats.org/officeDocument/2006/relationships/image" Target="../media/image12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22.xml.rels><?xml version="1.0" encoding="UTF-8" standalone="yes"?>
<Relationships xmlns="http://schemas.openxmlformats.org/package/2006/relationships"><Relationship Id="rId8" Type="http://schemas.openxmlformats.org/officeDocument/2006/relationships/image" Target="../media/image129.jpg"/><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jpeg"/><Relationship Id="rId3" Type="http://schemas.openxmlformats.org/officeDocument/2006/relationships/image" Target="../media/image124.jpg"/><Relationship Id="rId21" Type="http://schemas.openxmlformats.org/officeDocument/2006/relationships/image" Target="../media/image142.jpeg"/><Relationship Id="rId34" Type="http://schemas.openxmlformats.org/officeDocument/2006/relationships/image" Target="../media/image155.png"/><Relationship Id="rId7" Type="http://schemas.openxmlformats.org/officeDocument/2006/relationships/image" Target="../media/image128.png"/><Relationship Id="rId12" Type="http://schemas.openxmlformats.org/officeDocument/2006/relationships/image" Target="../media/image133.emf"/><Relationship Id="rId17" Type="http://schemas.openxmlformats.org/officeDocument/2006/relationships/image" Target="../media/image138.png"/><Relationship Id="rId25" Type="http://schemas.openxmlformats.org/officeDocument/2006/relationships/image" Target="../media/image146.jpeg"/><Relationship Id="rId33" Type="http://schemas.openxmlformats.org/officeDocument/2006/relationships/image" Target="../media/image154.png"/><Relationship Id="rId2" Type="http://schemas.openxmlformats.org/officeDocument/2006/relationships/notesSlide" Target="../notesSlides/notesSlide20.xml"/><Relationship Id="rId16" Type="http://schemas.openxmlformats.org/officeDocument/2006/relationships/image" Target="../media/image137.png"/><Relationship Id="rId20" Type="http://schemas.openxmlformats.org/officeDocument/2006/relationships/image" Target="../media/image141.png"/><Relationship Id="rId29" Type="http://schemas.openxmlformats.org/officeDocument/2006/relationships/image" Target="../media/image150.jpeg"/><Relationship Id="rId1" Type="http://schemas.openxmlformats.org/officeDocument/2006/relationships/slideLayout" Target="../slideLayouts/slideLayout3.xml"/><Relationship Id="rId6" Type="http://schemas.openxmlformats.org/officeDocument/2006/relationships/image" Target="../media/image127.jpg"/><Relationship Id="rId11" Type="http://schemas.openxmlformats.org/officeDocument/2006/relationships/image" Target="../media/image132.png"/><Relationship Id="rId24" Type="http://schemas.openxmlformats.org/officeDocument/2006/relationships/image" Target="../media/image145.jpeg"/><Relationship Id="rId32" Type="http://schemas.openxmlformats.org/officeDocument/2006/relationships/image" Target="../media/image153.jpeg"/><Relationship Id="rId5" Type="http://schemas.openxmlformats.org/officeDocument/2006/relationships/image" Target="../media/image126.PN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9.png"/><Relationship Id="rId10" Type="http://schemas.openxmlformats.org/officeDocument/2006/relationships/image" Target="../media/image131.jpeg"/><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image" Target="../media/image125.png"/><Relationship Id="rId9" Type="http://schemas.openxmlformats.org/officeDocument/2006/relationships/image" Target="../media/image130.jpg"/><Relationship Id="rId14" Type="http://schemas.openxmlformats.org/officeDocument/2006/relationships/image" Target="../media/image135.emf"/><Relationship Id="rId22" Type="http://schemas.openxmlformats.org/officeDocument/2006/relationships/image" Target="../media/image143.jpg"/><Relationship Id="rId27" Type="http://schemas.openxmlformats.org/officeDocument/2006/relationships/image" Target="../media/image148.png"/><Relationship Id="rId30" Type="http://schemas.openxmlformats.org/officeDocument/2006/relationships/image" Target="../media/image151.jp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jpeg"/><Relationship Id="rId39" Type="http://schemas.openxmlformats.org/officeDocument/2006/relationships/image" Target="../media/image192.png"/><Relationship Id="rId3" Type="http://schemas.openxmlformats.org/officeDocument/2006/relationships/image" Target="../media/image156.jpeg"/><Relationship Id="rId21" Type="http://schemas.openxmlformats.org/officeDocument/2006/relationships/image" Target="../media/image174.png"/><Relationship Id="rId34" Type="http://schemas.openxmlformats.org/officeDocument/2006/relationships/image" Target="../media/image187.png"/><Relationship Id="rId7" Type="http://schemas.openxmlformats.org/officeDocument/2006/relationships/image" Target="../media/image160.pn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38" Type="http://schemas.openxmlformats.org/officeDocument/2006/relationships/image" Target="../media/image191.png"/><Relationship Id="rId2" Type="http://schemas.openxmlformats.org/officeDocument/2006/relationships/notesSlide" Target="../notesSlides/notesSlide22.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41" Type="http://schemas.openxmlformats.org/officeDocument/2006/relationships/image" Target="../media/image194.png"/><Relationship Id="rId1" Type="http://schemas.openxmlformats.org/officeDocument/2006/relationships/slideLayout" Target="../slideLayouts/slideLayout18.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32" Type="http://schemas.openxmlformats.org/officeDocument/2006/relationships/image" Target="../media/image185.png"/><Relationship Id="rId37" Type="http://schemas.openxmlformats.org/officeDocument/2006/relationships/image" Target="../media/image190.png"/><Relationship Id="rId40" Type="http://schemas.openxmlformats.org/officeDocument/2006/relationships/image" Target="../media/image193.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36" Type="http://schemas.openxmlformats.org/officeDocument/2006/relationships/image" Target="../media/image189.png"/><Relationship Id="rId10" Type="http://schemas.openxmlformats.org/officeDocument/2006/relationships/image" Target="../media/image163.png"/><Relationship Id="rId19" Type="http://schemas.openxmlformats.org/officeDocument/2006/relationships/image" Target="../media/image172.png"/><Relationship Id="rId31" Type="http://schemas.openxmlformats.org/officeDocument/2006/relationships/image" Target="../media/image184.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 Id="rId30" Type="http://schemas.openxmlformats.org/officeDocument/2006/relationships/image" Target="../media/image183.png"/><Relationship Id="rId35" Type="http://schemas.openxmlformats.org/officeDocument/2006/relationships/image" Target="../media/image188.png"/></Relationships>
</file>

<file path=ppt/slides/_rels/slide2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196.png"/></Relationships>
</file>

<file path=ppt/slides/_rels/slide26.xml.rels><?xml version="1.0" encoding="UTF-8" standalone="yes"?>
<Relationships xmlns="http://schemas.openxmlformats.org/package/2006/relationships"><Relationship Id="rId8" Type="http://schemas.openxmlformats.org/officeDocument/2006/relationships/image" Target="../media/image202.tiff"/><Relationship Id="rId3" Type="http://schemas.microsoft.com/office/2007/relationships/hdphoto" Target="../media/hdphoto1.wdp"/><Relationship Id="rId7" Type="http://schemas.openxmlformats.org/officeDocument/2006/relationships/image" Target="../media/image201.tiff"/><Relationship Id="rId2" Type="http://schemas.openxmlformats.org/officeDocument/2006/relationships/image" Target="../media/image197.png"/><Relationship Id="rId1" Type="http://schemas.openxmlformats.org/officeDocument/2006/relationships/slideLayout" Target="../slideLayouts/slideLayout7.xml"/><Relationship Id="rId6" Type="http://schemas.openxmlformats.org/officeDocument/2006/relationships/image" Target="../media/image200.tiff"/><Relationship Id="rId11" Type="http://schemas.openxmlformats.org/officeDocument/2006/relationships/image" Target="../media/image205.tiff"/><Relationship Id="rId5" Type="http://schemas.openxmlformats.org/officeDocument/2006/relationships/image" Target="../media/image199.tiff"/><Relationship Id="rId10" Type="http://schemas.openxmlformats.org/officeDocument/2006/relationships/image" Target="../media/image204.tiff"/><Relationship Id="rId4" Type="http://schemas.openxmlformats.org/officeDocument/2006/relationships/image" Target="../media/image198.png"/><Relationship Id="rId9" Type="http://schemas.openxmlformats.org/officeDocument/2006/relationships/image" Target="../media/image203.tif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20" y="2756682"/>
            <a:ext cx="2806350" cy="3593180"/>
            <a:chOff x="3365784" y="2811462"/>
            <a:chExt cx="2862623" cy="3665231"/>
          </a:xfrm>
        </p:grpSpPr>
        <p:sp>
          <p:nvSpPr>
            <p:cNvPr id="6" name="Rectangle 5"/>
            <p:cNvSpPr/>
            <p:nvPr/>
          </p:nvSpPr>
          <p:spPr bwMode="auto">
            <a:xfrm>
              <a:off x="3365784" y="5137663"/>
              <a:ext cx="2862623" cy="133903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provide you with control over your data to help keep it private.</a:t>
              </a:r>
            </a:p>
            <a:p>
              <a:pPr defTabSz="896043">
                <a:defRPr/>
              </a:pPr>
              <a:endParaRPr lang="en-US" dirty="0"/>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60" y="2756682"/>
            <a:ext cx="2806350" cy="3593180"/>
            <a:chOff x="466225" y="2811462"/>
            <a:chExt cx="2862623" cy="3665231"/>
          </a:xfrm>
        </p:grpSpPr>
        <p:sp>
          <p:nvSpPr>
            <p:cNvPr id="5" name="Rectangle 4"/>
            <p:cNvSpPr/>
            <p:nvPr/>
          </p:nvSpPr>
          <p:spPr bwMode="auto">
            <a:xfrm>
              <a:off x="466225"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44"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86876" y="2209453"/>
              <a:ext cx="823969" cy="622554"/>
            </a:xfrm>
            <a:prstGeom prst="rect">
              <a:avLst/>
            </a:prstGeom>
            <a:noFill/>
            <a:extLst>
              <a:ext uri="{909E8E84-426E-40dd-AFC4-6F175D3DCCD1}">
                <a14:hiddenFill xmlns="" xmlns:a14="http://schemas.microsoft.com/office/drawing/2010/main">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6569161" y="5010823"/>
              <a:ext cx="690804" cy="428775"/>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cstate="hqprint">
              <a:extLst>
                <a:ext uri="{28A0092B-C50C-407E-A947-70E740481C1C}">
                  <a14:useLocalDpi xmlns:a14="http://schemas.microsoft.com/office/drawing/2010/main"/>
                </a:ext>
              </a:extLst>
            </a:blip>
            <a:srcRect/>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5835425" y="4914176"/>
              <a:ext cx="622070" cy="6220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800" dirty="0"/>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800" dirty="0"/>
                <a:t>Core customer data accessed only for troubleshooting and malware prevention purposes. </a:t>
              </a:r>
            </a:p>
            <a:p>
              <a:pPr marL="0" lvl="1" indent="0" defTabSz="913950">
                <a:spcBef>
                  <a:spcPts val="0"/>
                </a:spcBef>
                <a:spcAft>
                  <a:spcPts val="300"/>
                </a:spcAft>
                <a:buClr>
                  <a:srgbClr val="00BCF2"/>
                </a:buClr>
                <a:buNone/>
              </a:pPr>
              <a:r>
                <a:rPr lang="en-US" sz="1800" dirty="0"/>
                <a:t>Core customer data access limited to key personnel on an exception basis.</a:t>
              </a:r>
              <a:endParaRPr lang="en-US" sz="1800" kern="1600" dirty="0">
                <a:solidFill>
                  <a:srgbClr val="505050">
                    <a:lumMod val="75000"/>
                    <a:lumOff val="25000"/>
                  </a:srgbClr>
                </a:solidFill>
                <a:latin typeface="+mj-lt"/>
                <a:cs typeface="Segoe UI" pitchFamily="34" charset="0"/>
              </a:endParaRP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800" dirty="0"/>
                <a:t>Clear data maps and geographic boundary information provided.</a:t>
              </a:r>
            </a:p>
            <a:p>
              <a:pPr marL="0" lvl="1" indent="0" defTabSz="913950">
                <a:spcBef>
                  <a:spcPts val="0"/>
                </a:spcBef>
                <a:spcAft>
                  <a:spcPts val="300"/>
                </a:spcAft>
                <a:buClr>
                  <a:srgbClr val="0072C6"/>
                </a:buClr>
                <a:buNone/>
              </a:pPr>
              <a:r>
                <a:rPr lang="en-US" sz="1800" dirty="0"/>
                <a:t>‘Ship To’ address and/or some SKU purchase determines physical location you are provisioned</a:t>
              </a:r>
              <a:r>
                <a:rPr lang="en-US" dirty="0"/>
                <a:t>.</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519749" y="2441124"/>
              <a:ext cx="2620624" cy="3133952"/>
              <a:chOff x="7784374" y="2399957"/>
              <a:chExt cx="3017520" cy="3429000"/>
            </a:xfrm>
          </p:grpSpPr>
          <p:sp>
            <p:nvSpPr>
              <p:cNvPr id="174" name="Rectangle 23"/>
              <p:cNvSpPr>
                <a:spLocks noChangeArrowheads="1"/>
              </p:cNvSpPr>
              <p:nvPr/>
            </p:nvSpPr>
            <p:spPr bwMode="auto">
              <a:xfrm>
                <a:off x="7784374" y="2399957"/>
                <a:ext cx="3017520"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75814"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75814"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75814"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75814"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1375513" y="2516840"/>
              <a:ext cx="2461798" cy="2966783"/>
              <a:chOff x="1708087" y="2491424"/>
              <a:chExt cx="2834640" cy="3246093"/>
            </a:xfrm>
          </p:grpSpPr>
          <p:sp>
            <p:nvSpPr>
              <p:cNvPr id="193" name="Rectangle 192"/>
              <p:cNvSpPr/>
              <p:nvPr/>
            </p:nvSpPr>
            <p:spPr bwMode="auto">
              <a:xfrm>
                <a:off x="1708087"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1708087"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1708087"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sz="1372" kern="0" dirty="0">
                    <a:gradFill>
                      <a:gsLst>
                        <a:gs pos="0">
                          <a:srgbClr val="505050"/>
                        </a:gs>
                        <a:gs pos="100000">
                          <a:srgbClr val="505050"/>
                        </a:gs>
                      </a:gsLst>
                      <a:lin ang="5400000" scaled="0"/>
                    </a:gradFill>
                    <a:ea typeface="Segoe UI" pitchFamily="34" charset="0"/>
                    <a:cs typeface="Segoe UI" pitchFamily="34" charset="0"/>
                  </a:rPr>
                </a:br>
                <a:r>
                  <a:rPr lang="en-US" sz="1372"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1708087"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11406011" y="3769289"/>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571423" y="383036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cstate="hqprint">
            <a:extLst>
              <a:ext uri="{28A0092B-C50C-407E-A947-70E740481C1C}">
                <a14:useLocalDpi xmlns:a14="http://schemas.microsoft.com/office/drawing/2010/main"/>
              </a:ext>
            </a:extLst>
          </a:blip>
          <a:srcRect/>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cstate="hqprint">
            <a:extLst>
              <a:ext uri="{28A0092B-C50C-407E-A947-70E740481C1C}">
                <a14:useLocalDpi xmlns:a14="http://schemas.microsoft.com/office/drawing/2010/main"/>
              </a:ext>
            </a:extLst>
          </a:blip>
          <a:srcRect/>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4257448"/>
          </a:xfrm>
        </p:spPr>
        <p:txBody>
          <a:bodyPr/>
          <a:lstStyle/>
          <a:p>
            <a:r>
              <a:rPr lang="en-US" dirty="0"/>
              <a:t>Provide a jumpstart on development for Azure and Office 365</a:t>
            </a:r>
          </a:p>
          <a:p>
            <a:r>
              <a:rPr lang="en-US" dirty="0"/>
              <a:t>Understand the options for your platform of choice</a:t>
            </a:r>
          </a:p>
          <a:p>
            <a:pPr lvl="1"/>
            <a:r>
              <a:rPr lang="en-US" dirty="0"/>
              <a:t>Windows, Linux, OSX</a:t>
            </a:r>
          </a:p>
          <a:p>
            <a:endParaRPr lang="en-US" dirty="0"/>
          </a:p>
          <a:p>
            <a:endParaRPr lang="en-US" dirty="0"/>
          </a:p>
          <a:p>
            <a:r>
              <a:rPr lang="en-US" dirty="0"/>
              <a:t>CODE, CODE, CODE</a:t>
            </a:r>
          </a:p>
        </p:txBody>
      </p:sp>
    </p:spTree>
    <p:extLst>
      <p:ext uri="{BB962C8B-B14F-4D97-AF65-F5344CB8AC3E}">
        <p14:creationId xmlns:p14="http://schemas.microsoft.com/office/powerpoint/2010/main" val="822752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27" name="Rectangle 26"/>
          <p:cNvSpPr/>
          <p:nvPr/>
        </p:nvSpPr>
        <p:spPr bwMode="auto">
          <a:xfrm>
            <a:off x="47849" y="5889497"/>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21" name="Rectangle 20"/>
          <p:cNvSpPr/>
          <p:nvPr/>
        </p:nvSpPr>
        <p:spPr bwMode="auto">
          <a:xfrm>
            <a:off x="4126" y="5198555"/>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25" name="Rectangle 24"/>
          <p:cNvSpPr/>
          <p:nvPr/>
        </p:nvSpPr>
        <p:spPr bwMode="auto">
          <a:xfrm>
            <a:off x="29881" y="4506980"/>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24" name="Rectangle 23"/>
          <p:cNvSpPr/>
          <p:nvPr/>
        </p:nvSpPr>
        <p:spPr bwMode="auto">
          <a:xfrm>
            <a:off x="29881" y="3810263"/>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23" name="Rectangle 22"/>
          <p:cNvSpPr/>
          <p:nvPr/>
        </p:nvSpPr>
        <p:spPr bwMode="auto">
          <a:xfrm>
            <a:off x="29881" y="3123971"/>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22" name="Rectangle 21"/>
          <p:cNvSpPr/>
          <p:nvPr/>
        </p:nvSpPr>
        <p:spPr bwMode="auto">
          <a:xfrm>
            <a:off x="29881" y="243767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20" name="Rectangle 19"/>
          <p:cNvSpPr/>
          <p:nvPr/>
        </p:nvSpPr>
        <p:spPr bwMode="auto">
          <a:xfrm>
            <a:off x="29881" y="175114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5" name="Rectangle 4"/>
          <p:cNvSpPr/>
          <p:nvPr/>
        </p:nvSpPr>
        <p:spPr bwMode="auto">
          <a:xfrm>
            <a:off x="427346" y="485"/>
            <a:ext cx="5849172" cy="1187452"/>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6" name="Rectangle 5"/>
          <p:cNvSpPr/>
          <p:nvPr/>
        </p:nvSpPr>
        <p:spPr bwMode="auto">
          <a:xfrm>
            <a:off x="5647789" y="487"/>
            <a:ext cx="291446" cy="6715404"/>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6" name="Rectangle 25"/>
          <p:cNvSpPr/>
          <p:nvPr/>
        </p:nvSpPr>
        <p:spPr bwMode="auto">
          <a:xfrm>
            <a:off x="1" y="487"/>
            <a:ext cx="448653" cy="6634331"/>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additive="base">
                                        <p:cTn id="41" dur="750" fill="hold"/>
                                        <p:tgtEl>
                                          <p:spTgt spid="15"/>
                                        </p:tgtEl>
                                        <p:attrNameLst>
                                          <p:attrName>ppt_x</p:attrName>
                                        </p:attrNameLst>
                                      </p:cBhvr>
                                      <p:tavLst>
                                        <p:tav tm="0">
                                          <p:val>
                                            <p:strVal val="0-#ppt_w/2"/>
                                          </p:val>
                                        </p:tav>
                                        <p:tav tm="100000">
                                          <p:val>
                                            <p:strVal val="#ppt_x"/>
                                          </p:val>
                                        </p:tav>
                                      </p:tavLst>
                                    </p:anim>
                                    <p:anim calcmode="lin" valueType="num">
                                      <p:cBhvr additive="base">
                                        <p:cTn id="42" dur="750" fill="hold"/>
                                        <p:tgtEl>
                                          <p:spTgt spid="15"/>
                                        </p:tgtEl>
                                        <p:attrNameLst>
                                          <p:attrName>ppt_y</p:attrName>
                                        </p:attrNameLst>
                                      </p:cBhvr>
                                      <p:tavLst>
                                        <p:tav tm="0">
                                          <p:val>
                                            <p:strVal val="#ppt_y"/>
                                          </p:val>
                                        </p:tav>
                                        <p:tav tm="100000">
                                          <p:val>
                                            <p:strVal val="#ppt_y"/>
                                          </p:val>
                                        </p:tav>
                                      </p:tavLst>
                                    </p:anim>
                                  </p:childTnLst>
                                </p:cTn>
                              </p:par>
                            </p:childTnLst>
                          </p:cTn>
                        </p:par>
                        <p:par>
                          <p:cTn id="43" fill="hold">
                            <p:stCondLst>
                              <p:cond delay="750"/>
                            </p:stCondLst>
                            <p:childTnLst>
                              <p:par>
                                <p:cTn id="44" presetID="10" presetClass="entr" presetSubtype="0" fill="hold" grpId="0" nodeType="after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hq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154590" y="6162414"/>
                <a:ext cx="298609" cy="350617"/>
              </a:xfrm>
              <a:prstGeom prst="rect">
                <a:avLst/>
              </a:prstGeom>
            </p:spPr>
          </p:pic>
          <p:pic>
            <p:nvPicPr>
              <p:cNvPr id="86" name="Picture 85"/>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hqprint">
                <a:extLst>
                  <a:ext uri="{28A0092B-C50C-407E-A947-70E740481C1C}">
                    <a14:useLocalDpi xmlns:a14="http://schemas.microsoft.com/office/drawing/2010/main"/>
                  </a:ext>
                </a:extLst>
              </a:blip>
              <a:srcRect/>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cstate="hqprint">
            <a:extLst>
              <a:ext uri="{28A0092B-C50C-407E-A947-70E740481C1C}">
                <a14:useLocalDpi xmlns:a14="http://schemas.microsoft.com/office/drawing/2010/main"/>
              </a:ext>
            </a:extLst>
          </a:blip>
          <a:srcRect r="-102"/>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hqprint">
            <a:extLst>
              <a:ext uri="{28A0092B-C50C-407E-A947-70E740481C1C}">
                <a14:useLocalDpi xmlns:a14="http://schemas.microsoft.com/office/drawing/2010/main"/>
              </a:ext>
            </a:extLst>
          </a:blip>
          <a:srcRect l="-114"/>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hqprint">
              <a:extLst>
                <a:ext uri="{28A0092B-C50C-407E-A947-70E740481C1C}">
                  <a14:useLocalDpi xmlns:a14="http://schemas.microsoft.com/office/drawing/2010/main"/>
                </a:ext>
              </a:extLst>
            </a:blip>
            <a:srcRect/>
            <a:stretch/>
          </p:blipFill>
          <p:spPr>
            <a:xfrm>
              <a:off x="3410097" y="7695335"/>
              <a:ext cx="640080" cy="644774"/>
            </a:xfrm>
            <a:prstGeom prst="rect">
              <a:avLst/>
            </a:prstGeom>
          </p:spPr>
        </p:pic>
        <p:pic>
          <p:nvPicPr>
            <p:cNvPr id="33" name="Picture 32"/>
            <p:cNvPicPr>
              <a:picLocks noChangeAspect="1"/>
            </p:cNvPicPr>
            <p:nvPr/>
          </p:nvPicPr>
          <p:blipFill rotWithShape="1">
            <a:blip r:embed="rId28" cstate="hqprint">
              <a:extLst>
                <a:ext uri="{28A0092B-C50C-407E-A947-70E740481C1C}">
                  <a14:useLocalDpi xmlns:a14="http://schemas.microsoft.com/office/drawing/2010/main"/>
                </a:ext>
              </a:extLst>
            </a:blip>
            <a:srcRect/>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cstate="hqprint">
            <a:extLst>
              <a:ext uri="{28A0092B-C50C-407E-A947-70E740481C1C}">
                <a14:useLocalDpi xmlns:a14="http://schemas.microsoft.com/office/drawing/2010/main"/>
              </a:ext>
            </a:extLst>
          </a:blip>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cstate="hqprint">
            <a:extLst>
              <a:ext uri="{28A0092B-C50C-407E-A947-70E740481C1C}">
                <a14:useLocalDpi xmlns:a14="http://schemas.microsoft.com/office/drawing/2010/main"/>
              </a:ext>
            </a:extLst>
          </a:blip>
          <a:srcRect/>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804061"/>
            </a:xfrm>
            <a:prstGeom prst="rect">
              <a:avLst/>
            </a:prstGeom>
            <a:noFill/>
          </p:spPr>
          <p:txBody>
            <a:bodyPr wrap="square" lIns="627497" tIns="143428" rIns="179285" bIns="143428" rtlCol="0">
              <a:spAutoFit/>
            </a:bodyPr>
            <a:lstStyle/>
            <a:p>
              <a:pPr algn="ct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endParaRPr lang="en-US" sz="14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endParaRPr>
            </a:p>
          </p:txBody>
        </p:sp>
        <p:sp>
          <p:nvSpPr>
            <p:cNvPr id="117" name="TextBox 116"/>
            <p:cNvSpPr txBox="1"/>
            <p:nvPr/>
          </p:nvSpPr>
          <p:spPr>
            <a:xfrm>
              <a:off x="2273752" y="5990186"/>
              <a:ext cx="2720319"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sp>
        <p:nvSpPr>
          <p:cNvPr id="9" name="Rectangle 8"/>
          <p:cNvSpPr/>
          <p:nvPr/>
        </p:nvSpPr>
        <p:spPr bwMode="auto">
          <a:xfrm>
            <a:off x="269240" y="1636145"/>
            <a:ext cx="3854627" cy="30072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grpSp>
        <p:nvGrpSpPr>
          <p:cNvPr id="4" name="Group 3"/>
          <p:cNvGrpSpPr/>
          <p:nvPr/>
        </p:nvGrpSpPr>
        <p:grpSpPr>
          <a:xfrm>
            <a:off x="554268" y="2224900"/>
            <a:ext cx="2995767" cy="566656"/>
            <a:chOff x="8489229" y="305579"/>
            <a:chExt cx="2995767" cy="566656"/>
          </a:xfrm>
        </p:grpSpPr>
        <p:sp>
          <p:nvSpPr>
            <p:cNvPr id="88" name="TextBox 87"/>
            <p:cNvSpPr txBox="1"/>
            <p:nvPr/>
          </p:nvSpPr>
          <p:spPr>
            <a:xfrm>
              <a:off x="8489229" y="305579"/>
              <a:ext cx="2995767"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frameworks</a:t>
              </a:r>
            </a:p>
          </p:txBody>
        </p:sp>
        <p:sp>
          <p:nvSpPr>
            <p:cNvPr id="113" name="Freeform 699"/>
            <p:cNvSpPr>
              <a:spLocks noChangeAspect="1" noEditPoints="1"/>
            </p:cNvSpPr>
            <p:nvPr/>
          </p:nvSpPr>
          <p:spPr bwMode="auto">
            <a:xfrm>
              <a:off x="8652225" y="455591"/>
              <a:ext cx="266633" cy="266633"/>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16" name="Group 15"/>
          <p:cNvGrpSpPr/>
          <p:nvPr/>
        </p:nvGrpSpPr>
        <p:grpSpPr>
          <a:xfrm>
            <a:off x="554268" y="4074376"/>
            <a:ext cx="3049195" cy="566656"/>
            <a:chOff x="8982122" y="456014"/>
            <a:chExt cx="3049195" cy="566656"/>
          </a:xfrm>
        </p:grpSpPr>
        <p:sp>
          <p:nvSpPr>
            <p:cNvPr id="112" name="TextBox 111"/>
            <p:cNvSpPr txBox="1"/>
            <p:nvPr/>
          </p:nvSpPr>
          <p:spPr>
            <a:xfrm>
              <a:off x="8982122" y="456014"/>
              <a:ext cx="3049195"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err="1">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a:t>
              </a: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 Compute</a:t>
              </a:r>
            </a:p>
          </p:txBody>
        </p:sp>
        <p:sp>
          <p:nvSpPr>
            <p:cNvPr id="114" name="Freeform 10"/>
            <p:cNvSpPr>
              <a:spLocks noChangeAspect="1"/>
            </p:cNvSpPr>
            <p:nvPr/>
          </p:nvSpPr>
          <p:spPr bwMode="auto">
            <a:xfrm>
              <a:off x="9197526" y="608241"/>
              <a:ext cx="155052" cy="26220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7" name="Group 6"/>
          <p:cNvGrpSpPr/>
          <p:nvPr/>
        </p:nvGrpSpPr>
        <p:grpSpPr>
          <a:xfrm>
            <a:off x="554268" y="2844534"/>
            <a:ext cx="2666843" cy="566656"/>
            <a:chOff x="9089568" y="331906"/>
            <a:chExt cx="2666843" cy="566656"/>
          </a:xfrm>
        </p:grpSpPr>
        <p:sp>
          <p:nvSpPr>
            <p:cNvPr id="40" name="TextBox 39"/>
            <p:cNvSpPr txBox="1"/>
            <p:nvPr/>
          </p:nvSpPr>
          <p:spPr>
            <a:xfrm>
              <a:off x="9089568" y="331906"/>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nd mobile</a:t>
              </a:r>
            </a:p>
          </p:txBody>
        </p:sp>
        <p:grpSp>
          <p:nvGrpSpPr>
            <p:cNvPr id="72" name="Group 71"/>
            <p:cNvGrpSpPr>
              <a:grpSpLocks noChangeAspect="1"/>
            </p:cNvGrpSpPr>
            <p:nvPr/>
          </p:nvGrpSpPr>
          <p:grpSpPr>
            <a:xfrm>
              <a:off x="9274724" y="489516"/>
              <a:ext cx="248246" cy="249827"/>
              <a:chOff x="6386494" y="1747047"/>
              <a:chExt cx="1235956" cy="1270956"/>
            </a:xfrm>
            <a:solidFill>
              <a:schemeClr val="tx1"/>
            </a:solidFill>
          </p:grpSpPr>
          <p:sp>
            <p:nvSpPr>
              <p:cNvPr id="73" name="Rectangle 33"/>
              <p:cNvSpPr>
                <a:spLocks noChangeArrowheads="1"/>
              </p:cNvSpPr>
              <p:nvPr/>
            </p:nvSpPr>
            <p:spPr bwMode="auto">
              <a:xfrm>
                <a:off x="6386494" y="1747047"/>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083908" y="1747047"/>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386494" y="2463304"/>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083908"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509011" y="2094630"/>
                <a:ext cx="974765"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grpSp>
      <p:grpSp>
        <p:nvGrpSpPr>
          <p:cNvPr id="15" name="Group 14"/>
          <p:cNvGrpSpPr/>
          <p:nvPr/>
        </p:nvGrpSpPr>
        <p:grpSpPr>
          <a:xfrm>
            <a:off x="554268" y="3457884"/>
            <a:ext cx="2666843" cy="566656"/>
            <a:chOff x="9074363" y="354278"/>
            <a:chExt cx="2666843" cy="566656"/>
          </a:xfrm>
        </p:grpSpPr>
        <p:sp>
          <p:nvSpPr>
            <p:cNvPr id="115" name="Freeform 5"/>
            <p:cNvSpPr>
              <a:spLocks noChangeAspect="1" noEditPoints="1"/>
            </p:cNvSpPr>
            <p:nvPr/>
          </p:nvSpPr>
          <p:spPr bwMode="auto">
            <a:xfrm>
              <a:off x="9223784" y="534430"/>
              <a:ext cx="325646" cy="206353"/>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2" name="TextBox 41"/>
            <p:cNvSpPr txBox="1"/>
            <p:nvPr/>
          </p:nvSpPr>
          <p:spPr>
            <a:xfrm>
              <a:off x="9074363" y="354278"/>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1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00" fill="hold"/>
                                        <p:tgtEl>
                                          <p:spTgt spid="5"/>
                                        </p:tgtEl>
                                        <p:attrNameLst>
                                          <p:attrName>ppt_x</p:attrName>
                                        </p:attrNameLst>
                                      </p:cBhvr>
                                      <p:tavLst>
                                        <p:tav tm="0">
                                          <p:val>
                                            <p:strVal val="1+#ppt_w/2"/>
                                          </p:val>
                                        </p:tav>
                                        <p:tav tm="100000">
                                          <p:val>
                                            <p:strVal val="#ppt_x"/>
                                          </p:val>
                                        </p:tav>
                                      </p:tavLst>
                                    </p:anim>
                                    <p:anim calcmode="lin" valueType="num">
                                      <p:cBhvr additive="base">
                                        <p:cTn id="12" dur="8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3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800" fill="hold"/>
                                        <p:tgtEl>
                                          <p:spTgt spid="6"/>
                                        </p:tgtEl>
                                        <p:attrNameLst>
                                          <p:attrName>ppt_x</p:attrName>
                                        </p:attrNameLst>
                                      </p:cBhvr>
                                      <p:tavLst>
                                        <p:tav tm="0">
                                          <p:val>
                                            <p:strVal val="1+#ppt_w/2"/>
                                          </p:val>
                                        </p:tav>
                                        <p:tav tm="100000">
                                          <p:val>
                                            <p:strVal val="#ppt_x"/>
                                          </p:val>
                                        </p:tav>
                                      </p:tavLst>
                                    </p:anim>
                                    <p:anim calcmode="lin" valueType="num">
                                      <p:cBhvr additive="base">
                                        <p:cTn id="16"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 Flexible DevOps Pipeline</a:t>
            </a:r>
          </a:p>
        </p:txBody>
      </p:sp>
      <p:sp>
        <p:nvSpPr>
          <p:cNvPr id="3" name="Text Placeholder 2"/>
          <p:cNvSpPr>
            <a:spLocks noGrp="1"/>
          </p:cNvSpPr>
          <p:nvPr>
            <p:ph type="body" sz="quarter" idx="10"/>
          </p:nvPr>
        </p:nvSpPr>
        <p:spPr>
          <a:xfrm>
            <a:off x="269241" y="1189494"/>
            <a:ext cx="5378548" cy="5045356"/>
          </a:xfrm>
        </p:spPr>
        <p:txBody>
          <a:bodyPr/>
          <a:lstStyle/>
          <a:p>
            <a:r>
              <a:rPr lang="en-US" dirty="0"/>
              <a:t>Streamline the development of your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e the process to be repeatable &amp; sustainable</a:t>
            </a:r>
          </a:p>
          <a:p>
            <a:pPr lvl="1"/>
            <a:r>
              <a:rPr lang="en-US" dirty="0"/>
              <a:t>Continuous Integration (CI)</a:t>
            </a:r>
          </a:p>
          <a:p>
            <a:pPr lvl="1"/>
            <a:r>
              <a:rPr lang="en-US" dirty="0"/>
              <a:t>Continuous Delivery (CD)</a:t>
            </a:r>
          </a:p>
          <a:p>
            <a:pPr lvl="1"/>
            <a:r>
              <a:rPr lang="en-US" dirty="0"/>
              <a:t>Continuous Monitoring (CM)</a:t>
            </a:r>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cstate="hqprint">
            <a:alphaModFix/>
            <a:extLst>
              <a:ext uri="{28A0092B-C50C-407E-A947-70E740481C1C}">
                <a14:useLocalDpi xmlns:a14="http://schemas.microsoft.com/office/drawing/2010/main"/>
              </a:ext>
            </a:extLst>
          </a:blip>
          <a:srcRect/>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404703" y="5964493"/>
            <a:ext cx="1557912"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Distribution</a:t>
            </a:r>
          </a:p>
        </p:txBody>
      </p:sp>
      <p:sp>
        <p:nvSpPr>
          <p:cNvPr id="27" name="TextBox 26"/>
          <p:cNvSpPr txBox="1"/>
          <p:nvPr/>
        </p:nvSpPr>
        <p:spPr>
          <a:xfrm>
            <a:off x="7993747" y="5964493"/>
            <a:ext cx="1505013"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Monitoring</a:t>
            </a:r>
          </a:p>
        </p:txBody>
      </p:sp>
      <p:sp>
        <p:nvSpPr>
          <p:cNvPr id="28" name="TextBox 27"/>
          <p:cNvSpPr txBox="1"/>
          <p:nvPr/>
        </p:nvSpPr>
        <p:spPr>
          <a:xfrm>
            <a:off x="6467871" y="5964493"/>
            <a:ext cx="1646078"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Engagement</a:t>
            </a:r>
          </a:p>
        </p:txBody>
      </p:sp>
      <p:sp>
        <p:nvSpPr>
          <p:cNvPr id="29" name="TextBox 28"/>
          <p:cNvSpPr txBox="1"/>
          <p:nvPr/>
        </p:nvSpPr>
        <p:spPr>
          <a:xfrm>
            <a:off x="6565655" y="1179184"/>
            <a:ext cx="1450511"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Repository</a:t>
            </a:r>
          </a:p>
        </p:txBody>
      </p:sp>
      <p:sp>
        <p:nvSpPr>
          <p:cNvPr id="30" name="TextBox 29"/>
          <p:cNvSpPr txBox="1"/>
          <p:nvPr/>
        </p:nvSpPr>
        <p:spPr>
          <a:xfrm>
            <a:off x="8313899" y="1179184"/>
            <a:ext cx="873430"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Build</a:t>
            </a:r>
          </a:p>
        </p:txBody>
      </p:sp>
      <p:sp>
        <p:nvSpPr>
          <p:cNvPr id="31" name="TextBox 30"/>
          <p:cNvSpPr txBox="1"/>
          <p:nvPr/>
        </p:nvSpPr>
        <p:spPr>
          <a:xfrm>
            <a:off x="9622332" y="1179184"/>
            <a:ext cx="1101057" cy="538956"/>
          </a:xfrm>
          <a:prstGeom prst="rect">
            <a:avLst/>
          </a:prstGeom>
          <a:noFill/>
        </p:spPr>
        <p:txBody>
          <a:bodyPr wrap="none" lIns="179285" tIns="143428" rIns="179285" bIns="143428" rtlCol="0">
            <a:spAutoFit/>
          </a:bodyPr>
          <a:lstStyle/>
          <a:p>
            <a:pPr defTabSz="896386">
              <a:lnSpc>
                <a:spcPct val="90000"/>
              </a:lnSpc>
              <a:spcAft>
                <a:spcPts val="588"/>
              </a:spcAft>
              <a:defRPr/>
            </a:pPr>
            <a:r>
              <a:rPr lang="en-US" kern="0" dirty="0">
                <a:gradFill>
                  <a:gsLst>
                    <a:gs pos="2917">
                      <a:schemeClr val="tx1"/>
                    </a:gs>
                    <a:gs pos="30000">
                      <a:schemeClr val="tx1"/>
                    </a:gs>
                  </a:gsLst>
                  <a:lin ang="5400000" scaled="0"/>
                </a:gradFill>
              </a:rPr>
              <a:t>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6" cstate="hqprint">
            <a:alphaModFix/>
            <a:extLst>
              <a:ext uri="{28A0092B-C50C-407E-A947-70E740481C1C}">
                <a14:useLocalDpi xmlns:a14="http://schemas.microsoft.com/office/drawing/2010/main"/>
              </a:ext>
            </a:extLst>
          </a:blip>
          <a:srcRect/>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7" cstate="hqprint">
            <a:alphaModFix/>
            <a:extLst>
              <a:ext uri="{28A0092B-C50C-407E-A947-70E740481C1C}">
                <a14:useLocalDpi xmlns:a14="http://schemas.microsoft.com/office/drawing/2010/main"/>
              </a:ext>
            </a:extLst>
          </a:blip>
          <a:srcRect/>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8" cstate="hqprint">
            <a:alphaModFix/>
            <a:extLst>
              <a:ext uri="{28A0092B-C50C-407E-A947-70E740481C1C}">
                <a14:useLocalDpi xmlns:a14="http://schemas.microsoft.com/office/drawing/2010/main"/>
              </a:ext>
            </a:extLst>
          </a:blip>
          <a:srcRect/>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9" cstate="hqprint">
            <a:alphaModFix/>
            <a:extLst>
              <a:ext uri="{28A0092B-C50C-407E-A947-70E740481C1C}">
                <a14:useLocalDpi xmlns:a14="http://schemas.microsoft.com/office/drawing/2010/main"/>
              </a:ext>
            </a:extLst>
          </a:blip>
          <a:srcRect/>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10" cstate="hqprint">
            <a:alphaModFix/>
            <a:extLst>
              <a:ext uri="{28A0092B-C50C-407E-A947-70E740481C1C}">
                <a14:useLocalDpi xmlns:a14="http://schemas.microsoft.com/office/drawing/2010/main"/>
              </a:ext>
            </a:extLst>
          </a:blip>
          <a:srcRect/>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11" cstate="hqprint">
            <a:alphaModFix/>
            <a:extLst>
              <a:ext uri="{28A0092B-C50C-407E-A947-70E740481C1C}">
                <a14:useLocalDpi xmlns:a14="http://schemas.microsoft.com/office/drawing/2010/main"/>
              </a:ext>
            </a:extLst>
          </a:blip>
          <a:srcRect/>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7" name="Text Placeholder 6"/>
          <p:cNvSpPr>
            <a:spLocks noGrp="1"/>
          </p:cNvSpPr>
          <p:nvPr>
            <p:ph type="body" sz="quarter" idx="10"/>
          </p:nvPr>
        </p:nvSpPr>
        <p:spPr>
          <a:xfrm>
            <a:off x="269241" y="1189176"/>
            <a:ext cx="5378548" cy="619144"/>
          </a:xfrm>
        </p:spPr>
        <p:txBody>
          <a:bodyPr/>
          <a:lstStyle/>
          <a:p>
            <a:endParaRPr lang="en-US" dirty="0"/>
          </a:p>
        </p:txBody>
      </p:sp>
    </p:spTree>
    <p:extLst>
      <p:ext uri="{BB962C8B-B14F-4D97-AF65-F5344CB8AC3E}">
        <p14:creationId xmlns:p14="http://schemas.microsoft.com/office/powerpoint/2010/main" val="676432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1076" name="Shape 1076"/>
          <p:cNvSpPr txBox="1">
            <a:spLocks noGrp="1"/>
          </p:cNvSpPr>
          <p:nvPr>
            <p:ph type="body" idx="10"/>
          </p:nvPr>
        </p:nvSpPr>
        <p:spPr>
          <a:xfrm>
            <a:off x="269240" y="1189495"/>
            <a:ext cx="5378549" cy="615522"/>
          </a:xfrm>
        </p:spPr>
        <p:txBody>
          <a:bodyPr/>
          <a:lstStyle/>
          <a:p>
            <a:endParaRPr lang="en" dirty="0"/>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901870" y="2338638"/>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Windows containers</a:t>
            </a:r>
          </a:p>
        </p:txBody>
      </p:sp>
      <p:sp>
        <p:nvSpPr>
          <p:cNvPr id="1091" name="Shape 1091"/>
          <p:cNvSpPr txBox="1"/>
          <p:nvPr/>
        </p:nvSpPr>
        <p:spPr>
          <a:xfrm>
            <a:off x="3345106" y="1892984"/>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Hyper V container</a:t>
            </a:r>
          </a:p>
        </p:txBody>
      </p:sp>
    </p:spTree>
    <p:extLst>
      <p:ext uri="{BB962C8B-B14F-4D97-AF65-F5344CB8AC3E}">
        <p14:creationId xmlns:p14="http://schemas.microsoft.com/office/powerpoint/2010/main" val="1044277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ext uri="{D42A27DB-BD31-4B8C-83A1-F6EECF244321}">
                <p14:modId xmlns:p14="http://schemas.microsoft.com/office/powerpoint/2010/main" val="651705002"/>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3102593166"/>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pic>
        <p:nvPicPr>
          <p:cNvPr id="2" name="Picture Placeholder 1"/>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61389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707519"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4</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9937" y="6163352"/>
            <a:ext cx="10971413" cy="3416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dirty="0"/>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1086</TotalTime>
  <Words>3770</Words>
  <Application>Microsoft Office PowerPoint</Application>
  <PresentationFormat>Widescreen</PresentationFormat>
  <Paragraphs>574</Paragraphs>
  <Slides>37</Slides>
  <Notes>29</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2"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Build a Flexible DevOps Pipeline</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Steven Follis</cp:lastModifiedBy>
  <cp:revision>61</cp:revision>
  <dcterms:created xsi:type="dcterms:W3CDTF">2016-09-29T12:20:34Z</dcterms:created>
  <dcterms:modified xsi:type="dcterms:W3CDTF">2016-11-14T09:13:22Z</dcterms:modified>
</cp:coreProperties>
</file>